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4"/>
  </p:notesMasterIdLst>
  <p:sldIdLst>
    <p:sldId id="258" r:id="rId2"/>
    <p:sldId id="259" r:id="rId3"/>
    <p:sldId id="260" r:id="rId4"/>
    <p:sldId id="261" r:id="rId5"/>
    <p:sldId id="262" r:id="rId6"/>
    <p:sldId id="263" r:id="rId7"/>
    <p:sldId id="265" r:id="rId8"/>
    <p:sldId id="266" r:id="rId9"/>
    <p:sldId id="279" r:id="rId10"/>
    <p:sldId id="267" r:id="rId11"/>
    <p:sldId id="268" r:id="rId12"/>
    <p:sldId id="269" r:id="rId13"/>
    <p:sldId id="270" r:id="rId14"/>
    <p:sldId id="271" r:id="rId15"/>
    <p:sldId id="272" r:id="rId16"/>
    <p:sldId id="273" r:id="rId17"/>
    <p:sldId id="274" r:id="rId18"/>
    <p:sldId id="275" r:id="rId19"/>
    <p:sldId id="276" r:id="rId20"/>
    <p:sldId id="277" r:id="rId21"/>
    <p:sldId id="278" r:id="rId22"/>
    <p:sldId id="257" r:id="rId23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napToObjects="1">
      <p:cViewPr varScale="1">
        <p:scale>
          <a:sx n="70" d="100"/>
          <a:sy n="70" d="100"/>
        </p:scale>
        <p:origin x="1386" y="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71BEBAA-A1B4-42A7-99EC-E3E9F00E7724}" type="datetimeFigureOut">
              <a:rPr lang="en-US" smtClean="0"/>
              <a:t>4/16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14CD2F-029E-4743-A97A-A4C5352830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30760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hat is on your</a:t>
            </a:r>
            <a:r>
              <a:rPr lang="en-US" baseline="0" dirty="0" smtClean="0"/>
              <a:t> network includes hardware, software, and information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735D0F-15CB-5241-8DA7-9EC6F9751AD5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99953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2A5EB89-B48A-2B41-A60C-EFAE0B4F3637}" type="datetimeFigureOut">
              <a:rPr lang="en-US" smtClean="0"/>
              <a:t>4/16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56084D-F5B2-414A-BAA3-53BA74FF69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43883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2A5EB89-B48A-2B41-A60C-EFAE0B4F3637}" type="datetimeFigureOut">
              <a:rPr lang="en-US" smtClean="0"/>
              <a:t>4/16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56084D-F5B2-414A-BAA3-53BA74FF69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97175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2A5EB89-B48A-2B41-A60C-EFAE0B4F3637}" type="datetimeFigureOut">
              <a:rPr lang="en-US" smtClean="0"/>
              <a:t>4/16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56084D-F5B2-414A-BAA3-53BA74FF69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8379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21656" y="6435376"/>
            <a:ext cx="1051353" cy="365125"/>
          </a:xfrm>
          <a:prstGeom prst="rect">
            <a:avLst/>
          </a:prstGeom>
        </p:spPr>
        <p:txBody>
          <a:bodyPr/>
          <a:lstStyle/>
          <a:p>
            <a:fld id="{F56C8676-1494-424A-9EE1-69F4EB666BA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4294967295"/>
          </p:nvPr>
        </p:nvSpPr>
        <p:spPr>
          <a:xfrm>
            <a:off x="698503" y="1421680"/>
            <a:ext cx="8094623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1638300" y="7924800"/>
            <a:ext cx="914400" cy="1219200"/>
          </a:xfrm>
          <a:prstGeom prst="rect">
            <a:avLst/>
          </a:prstGeom>
        </p:spPr>
        <p:txBody>
          <a:bodyPr vert="horz" wrap="none" lIns="91440" tIns="0" rIns="91440" bIns="45720" rtlCol="0" anchor="t" anchorCtr="0">
            <a:normAutofit/>
          </a:bodyPr>
          <a:lstStyle/>
          <a:p>
            <a:pPr>
              <a:lnSpc>
                <a:spcPct val="100000"/>
              </a:lnSpc>
            </a:pPr>
            <a:endParaRPr lang="en-US" sz="1900" b="0" i="0" baseline="0" dirty="0" smtClean="0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960027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2A5EB89-B48A-2B41-A60C-EFAE0B4F3637}" type="datetimeFigureOut">
              <a:rPr lang="en-US" smtClean="0"/>
              <a:t>4/16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56084D-F5B2-414A-BAA3-53BA74FF69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11313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2A5EB89-B48A-2B41-A60C-EFAE0B4F3637}" type="datetimeFigureOut">
              <a:rPr lang="en-US" smtClean="0"/>
              <a:t>4/16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56084D-F5B2-414A-BAA3-53BA74FF69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84379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2A5EB89-B48A-2B41-A60C-EFAE0B4F3637}" type="datetimeFigureOut">
              <a:rPr lang="en-US" smtClean="0"/>
              <a:t>4/16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56084D-F5B2-414A-BAA3-53BA74FF69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76049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2A5EB89-B48A-2B41-A60C-EFAE0B4F3637}" type="datetimeFigureOut">
              <a:rPr lang="en-US" smtClean="0"/>
              <a:t>4/16/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56084D-F5B2-414A-BAA3-53BA74FF69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5156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2A5EB89-B48A-2B41-A60C-EFAE0B4F3637}" type="datetimeFigureOut">
              <a:rPr lang="en-US" smtClean="0"/>
              <a:t>4/16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56084D-F5B2-414A-BAA3-53BA74FF69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14646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2A5EB89-B48A-2B41-A60C-EFAE0B4F3637}" type="datetimeFigureOut">
              <a:rPr lang="en-US" smtClean="0"/>
              <a:t>4/16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56084D-F5B2-414A-BAA3-53BA74FF69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15209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2A5EB89-B48A-2B41-A60C-EFAE0B4F3637}" type="datetimeFigureOut">
              <a:rPr lang="en-US" smtClean="0"/>
              <a:t>4/16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56084D-F5B2-414A-BAA3-53BA74FF69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022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2A5EB89-B48A-2B41-A60C-EFAE0B4F3637}" type="datetimeFigureOut">
              <a:rPr lang="en-US" smtClean="0"/>
              <a:t>4/16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56084D-F5B2-414A-BAA3-53BA74FF69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3239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38" descr="C4I Presentation Temp 1-01 copy.jpg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812799"/>
            <a:ext cx="8229600" cy="8785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891934"/>
            <a:ext cx="8229600" cy="42342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505038" y="638681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56084D-F5B2-414A-BAA3-53BA74FF69C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object 3"/>
          <p:cNvSpPr/>
          <p:nvPr userDrawn="1"/>
        </p:nvSpPr>
        <p:spPr>
          <a:xfrm>
            <a:off x="1153419" y="6308725"/>
            <a:ext cx="7533381" cy="108562"/>
          </a:xfrm>
          <a:custGeom>
            <a:avLst/>
            <a:gdLst/>
            <a:ahLst/>
            <a:cxnLst/>
            <a:rect l="l" t="t" r="r" b="b"/>
            <a:pathLst>
              <a:path w="10287000">
                <a:moveTo>
                  <a:pt x="0" y="0"/>
                </a:moveTo>
                <a:lnTo>
                  <a:pt x="10287000" y="0"/>
                </a:lnTo>
              </a:path>
            </a:pathLst>
          </a:custGeom>
          <a:ln w="1005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8" name="Group 7"/>
          <p:cNvGrpSpPr/>
          <p:nvPr userDrawn="1"/>
        </p:nvGrpSpPr>
        <p:grpSpPr>
          <a:xfrm>
            <a:off x="7023601" y="6504783"/>
            <a:ext cx="1474381" cy="104151"/>
            <a:chOff x="10159558" y="6517483"/>
            <a:chExt cx="1474381" cy="104151"/>
          </a:xfrm>
        </p:grpSpPr>
        <p:sp>
          <p:nvSpPr>
            <p:cNvPr id="9" name="object 4"/>
            <p:cNvSpPr/>
            <p:nvPr/>
          </p:nvSpPr>
          <p:spPr>
            <a:xfrm>
              <a:off x="10159558" y="6517489"/>
              <a:ext cx="78740" cy="104139"/>
            </a:xfrm>
            <a:custGeom>
              <a:avLst/>
              <a:gdLst/>
              <a:ahLst/>
              <a:cxnLst/>
              <a:rect l="l" t="t" r="r" b="b"/>
              <a:pathLst>
                <a:path w="78740" h="104140">
                  <a:moveTo>
                    <a:pt x="35852" y="0"/>
                  </a:moveTo>
                  <a:lnTo>
                    <a:pt x="19111" y="2071"/>
                  </a:lnTo>
                  <a:lnTo>
                    <a:pt x="8024" y="8416"/>
                  </a:lnTo>
                  <a:lnTo>
                    <a:pt x="1888" y="19234"/>
                  </a:lnTo>
                  <a:lnTo>
                    <a:pt x="0" y="34721"/>
                  </a:lnTo>
                  <a:lnTo>
                    <a:pt x="0" y="74104"/>
                  </a:lnTo>
                  <a:lnTo>
                    <a:pt x="2728" y="88840"/>
                  </a:lnTo>
                  <a:lnTo>
                    <a:pt x="9969" y="97856"/>
                  </a:lnTo>
                  <a:lnTo>
                    <a:pt x="20306" y="102372"/>
                  </a:lnTo>
                  <a:lnTo>
                    <a:pt x="32321" y="103606"/>
                  </a:lnTo>
                  <a:lnTo>
                    <a:pt x="45785" y="103023"/>
                  </a:lnTo>
                  <a:lnTo>
                    <a:pt x="57797" y="101274"/>
                  </a:lnTo>
                  <a:lnTo>
                    <a:pt x="68647" y="98361"/>
                  </a:lnTo>
                  <a:lnTo>
                    <a:pt x="78625" y="94284"/>
                  </a:lnTo>
                  <a:lnTo>
                    <a:pt x="78625" y="85394"/>
                  </a:lnTo>
                  <a:lnTo>
                    <a:pt x="26809" y="85394"/>
                  </a:lnTo>
                  <a:lnTo>
                    <a:pt x="22999" y="83705"/>
                  </a:lnTo>
                  <a:lnTo>
                    <a:pt x="22999" y="23850"/>
                  </a:lnTo>
                  <a:lnTo>
                    <a:pt x="24561" y="18491"/>
                  </a:lnTo>
                  <a:lnTo>
                    <a:pt x="72591" y="18491"/>
                  </a:lnTo>
                  <a:lnTo>
                    <a:pt x="75933" y="3949"/>
                  </a:lnTo>
                  <a:lnTo>
                    <a:pt x="65128" y="2260"/>
                  </a:lnTo>
                  <a:lnTo>
                    <a:pt x="54678" y="1022"/>
                  </a:lnTo>
                  <a:lnTo>
                    <a:pt x="44834" y="259"/>
                  </a:lnTo>
                  <a:lnTo>
                    <a:pt x="35852" y="0"/>
                  </a:lnTo>
                  <a:close/>
                </a:path>
                <a:path w="78740" h="104140">
                  <a:moveTo>
                    <a:pt x="78625" y="41922"/>
                  </a:moveTo>
                  <a:lnTo>
                    <a:pt x="37261" y="41922"/>
                  </a:lnTo>
                  <a:lnTo>
                    <a:pt x="37261" y="60261"/>
                  </a:lnTo>
                  <a:lnTo>
                    <a:pt x="55613" y="60261"/>
                  </a:lnTo>
                  <a:lnTo>
                    <a:pt x="55613" y="82575"/>
                  </a:lnTo>
                  <a:lnTo>
                    <a:pt x="50241" y="84112"/>
                  </a:lnTo>
                  <a:lnTo>
                    <a:pt x="42062" y="85394"/>
                  </a:lnTo>
                  <a:lnTo>
                    <a:pt x="78625" y="85394"/>
                  </a:lnTo>
                  <a:lnTo>
                    <a:pt x="78625" y="41922"/>
                  </a:lnTo>
                  <a:close/>
                </a:path>
                <a:path w="78740" h="104140">
                  <a:moveTo>
                    <a:pt x="72591" y="18491"/>
                  </a:moveTo>
                  <a:lnTo>
                    <a:pt x="38392" y="18491"/>
                  </a:lnTo>
                  <a:lnTo>
                    <a:pt x="44813" y="18661"/>
                  </a:lnTo>
                  <a:lnTo>
                    <a:pt x="52265" y="19216"/>
                  </a:lnTo>
                  <a:lnTo>
                    <a:pt x="61143" y="20221"/>
                  </a:lnTo>
                  <a:lnTo>
                    <a:pt x="71843" y="21742"/>
                  </a:lnTo>
                  <a:lnTo>
                    <a:pt x="72591" y="18491"/>
                  </a:lnTo>
                  <a:close/>
                </a:path>
              </a:pathLst>
            </a:custGeom>
            <a:solidFill>
              <a:srgbClr val="36393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5"/>
            <p:cNvSpPr/>
            <p:nvPr/>
          </p:nvSpPr>
          <p:spPr>
            <a:xfrm>
              <a:off x="10258837" y="6518764"/>
              <a:ext cx="80645" cy="102870"/>
            </a:xfrm>
            <a:custGeom>
              <a:avLst/>
              <a:gdLst/>
              <a:ahLst/>
              <a:cxnLst/>
              <a:rect l="l" t="t" r="r" b="b"/>
              <a:pathLst>
                <a:path w="80645" h="102870">
                  <a:moveTo>
                    <a:pt x="23012" y="0"/>
                  </a:moveTo>
                  <a:lnTo>
                    <a:pt x="0" y="0"/>
                  </a:lnTo>
                  <a:lnTo>
                    <a:pt x="0" y="67462"/>
                  </a:lnTo>
                  <a:lnTo>
                    <a:pt x="2424" y="83209"/>
                  </a:lnTo>
                  <a:lnTo>
                    <a:pt x="9547" y="94053"/>
                  </a:lnTo>
                  <a:lnTo>
                    <a:pt x="21141" y="100320"/>
                  </a:lnTo>
                  <a:lnTo>
                    <a:pt x="36982" y="102336"/>
                  </a:lnTo>
                  <a:lnTo>
                    <a:pt x="43345" y="102336"/>
                  </a:lnTo>
                  <a:lnTo>
                    <a:pt x="59239" y="100320"/>
                  </a:lnTo>
                  <a:lnTo>
                    <a:pt x="70827" y="94053"/>
                  </a:lnTo>
                  <a:lnTo>
                    <a:pt x="77230" y="84264"/>
                  </a:lnTo>
                  <a:lnTo>
                    <a:pt x="25273" y="84264"/>
                  </a:lnTo>
                  <a:lnTo>
                    <a:pt x="23012" y="77355"/>
                  </a:lnTo>
                  <a:lnTo>
                    <a:pt x="23012" y="0"/>
                  </a:lnTo>
                  <a:close/>
                </a:path>
                <a:path w="80645" h="102870">
                  <a:moveTo>
                    <a:pt x="80327" y="0"/>
                  </a:moveTo>
                  <a:lnTo>
                    <a:pt x="57315" y="0"/>
                  </a:lnTo>
                  <a:lnTo>
                    <a:pt x="57315" y="77355"/>
                  </a:lnTo>
                  <a:lnTo>
                    <a:pt x="55054" y="84264"/>
                  </a:lnTo>
                  <a:lnTo>
                    <a:pt x="77230" y="84264"/>
                  </a:lnTo>
                  <a:lnTo>
                    <a:pt x="77920" y="83209"/>
                  </a:lnTo>
                  <a:lnTo>
                    <a:pt x="80327" y="67462"/>
                  </a:lnTo>
                  <a:lnTo>
                    <a:pt x="80327" y="0"/>
                  </a:lnTo>
                  <a:close/>
                </a:path>
              </a:pathLst>
            </a:custGeom>
            <a:solidFill>
              <a:srgbClr val="36393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6"/>
            <p:cNvSpPr/>
            <p:nvPr/>
          </p:nvSpPr>
          <p:spPr>
            <a:xfrm>
              <a:off x="10349805" y="6518775"/>
              <a:ext cx="97155" cy="101600"/>
            </a:xfrm>
            <a:custGeom>
              <a:avLst/>
              <a:gdLst/>
              <a:ahLst/>
              <a:cxnLst/>
              <a:rect l="l" t="t" r="r" b="b"/>
              <a:pathLst>
                <a:path w="97154" h="101600">
                  <a:moveTo>
                    <a:pt x="61391" y="0"/>
                  </a:moveTo>
                  <a:lnTo>
                    <a:pt x="35572" y="0"/>
                  </a:lnTo>
                  <a:lnTo>
                    <a:pt x="0" y="101041"/>
                  </a:lnTo>
                  <a:lnTo>
                    <a:pt x="25539" y="101041"/>
                  </a:lnTo>
                  <a:lnTo>
                    <a:pt x="31483" y="82702"/>
                  </a:lnTo>
                  <a:lnTo>
                    <a:pt x="90393" y="82702"/>
                  </a:lnTo>
                  <a:lnTo>
                    <a:pt x="83962" y="64363"/>
                  </a:lnTo>
                  <a:lnTo>
                    <a:pt x="35712" y="64363"/>
                  </a:lnTo>
                  <a:lnTo>
                    <a:pt x="48412" y="22288"/>
                  </a:lnTo>
                  <a:lnTo>
                    <a:pt x="69207" y="22288"/>
                  </a:lnTo>
                  <a:lnTo>
                    <a:pt x="61391" y="0"/>
                  </a:lnTo>
                  <a:close/>
                </a:path>
                <a:path w="97154" h="101600">
                  <a:moveTo>
                    <a:pt x="90393" y="82702"/>
                  </a:moveTo>
                  <a:lnTo>
                    <a:pt x="65493" y="82702"/>
                  </a:lnTo>
                  <a:lnTo>
                    <a:pt x="71424" y="101041"/>
                  </a:lnTo>
                  <a:lnTo>
                    <a:pt x="96824" y="101041"/>
                  </a:lnTo>
                  <a:lnTo>
                    <a:pt x="90393" y="82702"/>
                  </a:lnTo>
                  <a:close/>
                </a:path>
                <a:path w="97154" h="101600">
                  <a:moveTo>
                    <a:pt x="69207" y="22288"/>
                  </a:moveTo>
                  <a:lnTo>
                    <a:pt x="48412" y="22288"/>
                  </a:lnTo>
                  <a:lnTo>
                    <a:pt x="61252" y="64363"/>
                  </a:lnTo>
                  <a:lnTo>
                    <a:pt x="83962" y="64363"/>
                  </a:lnTo>
                  <a:lnTo>
                    <a:pt x="69207" y="22288"/>
                  </a:lnTo>
                  <a:close/>
                </a:path>
              </a:pathLst>
            </a:custGeom>
            <a:solidFill>
              <a:srgbClr val="36393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7"/>
            <p:cNvSpPr/>
            <p:nvPr/>
          </p:nvSpPr>
          <p:spPr>
            <a:xfrm>
              <a:off x="10460945" y="6518766"/>
              <a:ext cx="81280" cy="101600"/>
            </a:xfrm>
            <a:custGeom>
              <a:avLst/>
              <a:gdLst/>
              <a:ahLst/>
              <a:cxnLst/>
              <a:rect l="l" t="t" r="r" b="b"/>
              <a:pathLst>
                <a:path w="81279" h="101600">
                  <a:moveTo>
                    <a:pt x="38950" y="0"/>
                  </a:moveTo>
                  <a:lnTo>
                    <a:pt x="0" y="0"/>
                  </a:lnTo>
                  <a:lnTo>
                    <a:pt x="0" y="101053"/>
                  </a:lnTo>
                  <a:lnTo>
                    <a:pt x="23012" y="101053"/>
                  </a:lnTo>
                  <a:lnTo>
                    <a:pt x="23012" y="60540"/>
                  </a:lnTo>
                  <a:lnTo>
                    <a:pt x="60080" y="60540"/>
                  </a:lnTo>
                  <a:lnTo>
                    <a:pt x="58991" y="58432"/>
                  </a:lnTo>
                  <a:lnTo>
                    <a:pt x="66363" y="54628"/>
                  </a:lnTo>
                  <a:lnTo>
                    <a:pt x="71561" y="49304"/>
                  </a:lnTo>
                  <a:lnTo>
                    <a:pt x="74278" y="43180"/>
                  </a:lnTo>
                  <a:lnTo>
                    <a:pt x="23012" y="43180"/>
                  </a:lnTo>
                  <a:lnTo>
                    <a:pt x="23012" y="18491"/>
                  </a:lnTo>
                  <a:lnTo>
                    <a:pt x="73677" y="18491"/>
                  </a:lnTo>
                  <a:lnTo>
                    <a:pt x="72837" y="13812"/>
                  </a:lnTo>
                  <a:lnTo>
                    <a:pt x="65084" y="4905"/>
                  </a:lnTo>
                  <a:lnTo>
                    <a:pt x="53440" y="917"/>
                  </a:lnTo>
                  <a:lnTo>
                    <a:pt x="38950" y="0"/>
                  </a:lnTo>
                  <a:close/>
                </a:path>
                <a:path w="81279" h="101600">
                  <a:moveTo>
                    <a:pt x="60080" y="60540"/>
                  </a:moveTo>
                  <a:lnTo>
                    <a:pt x="36410" y="60540"/>
                  </a:lnTo>
                  <a:lnTo>
                    <a:pt x="55041" y="101053"/>
                  </a:lnTo>
                  <a:lnTo>
                    <a:pt x="81013" y="101053"/>
                  </a:lnTo>
                  <a:lnTo>
                    <a:pt x="60080" y="60540"/>
                  </a:lnTo>
                  <a:close/>
                </a:path>
                <a:path w="81279" h="101600">
                  <a:moveTo>
                    <a:pt x="73677" y="18491"/>
                  </a:moveTo>
                  <a:lnTo>
                    <a:pt x="49682" y="18491"/>
                  </a:lnTo>
                  <a:lnTo>
                    <a:pt x="52654" y="21310"/>
                  </a:lnTo>
                  <a:lnTo>
                    <a:pt x="52654" y="40208"/>
                  </a:lnTo>
                  <a:lnTo>
                    <a:pt x="49682" y="43180"/>
                  </a:lnTo>
                  <a:lnTo>
                    <a:pt x="74278" y="43180"/>
                  </a:lnTo>
                  <a:lnTo>
                    <a:pt x="74639" y="42366"/>
                  </a:lnTo>
                  <a:lnTo>
                    <a:pt x="75653" y="33718"/>
                  </a:lnTo>
                  <a:lnTo>
                    <a:pt x="75653" y="29489"/>
                  </a:lnTo>
                  <a:lnTo>
                    <a:pt x="73677" y="18491"/>
                  </a:lnTo>
                  <a:close/>
                </a:path>
              </a:pathLst>
            </a:custGeom>
            <a:solidFill>
              <a:srgbClr val="36393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8"/>
            <p:cNvSpPr/>
            <p:nvPr/>
          </p:nvSpPr>
          <p:spPr>
            <a:xfrm>
              <a:off x="10557547" y="6518775"/>
              <a:ext cx="78105" cy="101600"/>
            </a:xfrm>
            <a:custGeom>
              <a:avLst/>
              <a:gdLst/>
              <a:ahLst/>
              <a:cxnLst/>
              <a:rect l="l" t="t" r="r" b="b"/>
              <a:pathLst>
                <a:path w="78104" h="101600">
                  <a:moveTo>
                    <a:pt x="37693" y="0"/>
                  </a:moveTo>
                  <a:lnTo>
                    <a:pt x="0" y="0"/>
                  </a:lnTo>
                  <a:lnTo>
                    <a:pt x="0" y="101041"/>
                  </a:lnTo>
                  <a:lnTo>
                    <a:pt x="40373" y="101041"/>
                  </a:lnTo>
                  <a:lnTo>
                    <a:pt x="59183" y="98813"/>
                  </a:lnTo>
                  <a:lnTo>
                    <a:pt x="70700" y="92219"/>
                  </a:lnTo>
                  <a:lnTo>
                    <a:pt x="75776" y="82702"/>
                  </a:lnTo>
                  <a:lnTo>
                    <a:pt x="23012" y="82702"/>
                  </a:lnTo>
                  <a:lnTo>
                    <a:pt x="23012" y="18491"/>
                  </a:lnTo>
                  <a:lnTo>
                    <a:pt x="75727" y="18491"/>
                  </a:lnTo>
                  <a:lnTo>
                    <a:pt x="75617" y="17734"/>
                  </a:lnTo>
                  <a:lnTo>
                    <a:pt x="68194" y="7121"/>
                  </a:lnTo>
                  <a:lnTo>
                    <a:pt x="55610" y="1590"/>
                  </a:lnTo>
                  <a:lnTo>
                    <a:pt x="37693" y="0"/>
                  </a:lnTo>
                  <a:close/>
                </a:path>
                <a:path w="78104" h="101600">
                  <a:moveTo>
                    <a:pt x="75727" y="18491"/>
                  </a:moveTo>
                  <a:lnTo>
                    <a:pt x="54483" y="18491"/>
                  </a:lnTo>
                  <a:lnTo>
                    <a:pt x="55054" y="24549"/>
                  </a:lnTo>
                  <a:lnTo>
                    <a:pt x="55054" y="78879"/>
                  </a:lnTo>
                  <a:lnTo>
                    <a:pt x="52514" y="82702"/>
                  </a:lnTo>
                  <a:lnTo>
                    <a:pt x="75776" y="82702"/>
                  </a:lnTo>
                  <a:lnTo>
                    <a:pt x="76474" y="81394"/>
                  </a:lnTo>
                  <a:lnTo>
                    <a:pt x="78054" y="66471"/>
                  </a:lnTo>
                  <a:lnTo>
                    <a:pt x="78054" y="34569"/>
                  </a:lnTo>
                  <a:lnTo>
                    <a:pt x="75727" y="18491"/>
                  </a:lnTo>
                  <a:close/>
                </a:path>
              </a:pathLst>
            </a:custGeom>
            <a:solidFill>
              <a:srgbClr val="36393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9"/>
            <p:cNvSpPr/>
            <p:nvPr/>
          </p:nvSpPr>
          <p:spPr>
            <a:xfrm>
              <a:off x="10656977" y="6518767"/>
              <a:ext cx="69850" cy="101600"/>
            </a:xfrm>
            <a:custGeom>
              <a:avLst/>
              <a:gdLst/>
              <a:ahLst/>
              <a:cxnLst/>
              <a:rect l="l" t="t" r="r" b="b"/>
              <a:pathLst>
                <a:path w="69850" h="101600">
                  <a:moveTo>
                    <a:pt x="69723" y="0"/>
                  </a:moveTo>
                  <a:lnTo>
                    <a:pt x="0" y="0"/>
                  </a:lnTo>
                  <a:lnTo>
                    <a:pt x="0" y="101053"/>
                  </a:lnTo>
                  <a:lnTo>
                    <a:pt x="69164" y="101053"/>
                  </a:lnTo>
                  <a:lnTo>
                    <a:pt x="69164" y="82130"/>
                  </a:lnTo>
                  <a:lnTo>
                    <a:pt x="23012" y="82130"/>
                  </a:lnTo>
                  <a:lnTo>
                    <a:pt x="23012" y="58000"/>
                  </a:lnTo>
                  <a:lnTo>
                    <a:pt x="63233" y="58000"/>
                  </a:lnTo>
                  <a:lnTo>
                    <a:pt x="66205" y="39077"/>
                  </a:lnTo>
                  <a:lnTo>
                    <a:pt x="23012" y="39077"/>
                  </a:lnTo>
                  <a:lnTo>
                    <a:pt x="23012" y="18897"/>
                  </a:lnTo>
                  <a:lnTo>
                    <a:pt x="66751" y="18897"/>
                  </a:lnTo>
                  <a:lnTo>
                    <a:pt x="69723" y="0"/>
                  </a:lnTo>
                  <a:close/>
                </a:path>
              </a:pathLst>
            </a:custGeom>
            <a:solidFill>
              <a:srgbClr val="36393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0"/>
            <p:cNvSpPr/>
            <p:nvPr/>
          </p:nvSpPr>
          <p:spPr>
            <a:xfrm>
              <a:off x="10747233" y="6518775"/>
              <a:ext cx="78105" cy="101600"/>
            </a:xfrm>
            <a:custGeom>
              <a:avLst/>
              <a:gdLst/>
              <a:ahLst/>
              <a:cxnLst/>
              <a:rect l="l" t="t" r="r" b="b"/>
              <a:pathLst>
                <a:path w="78104" h="101600">
                  <a:moveTo>
                    <a:pt x="37693" y="0"/>
                  </a:moveTo>
                  <a:lnTo>
                    <a:pt x="0" y="0"/>
                  </a:lnTo>
                  <a:lnTo>
                    <a:pt x="0" y="101041"/>
                  </a:lnTo>
                  <a:lnTo>
                    <a:pt x="40373" y="101041"/>
                  </a:lnTo>
                  <a:lnTo>
                    <a:pt x="59178" y="98813"/>
                  </a:lnTo>
                  <a:lnTo>
                    <a:pt x="70696" y="92219"/>
                  </a:lnTo>
                  <a:lnTo>
                    <a:pt x="75774" y="82702"/>
                  </a:lnTo>
                  <a:lnTo>
                    <a:pt x="23012" y="82702"/>
                  </a:lnTo>
                  <a:lnTo>
                    <a:pt x="23012" y="18491"/>
                  </a:lnTo>
                  <a:lnTo>
                    <a:pt x="75727" y="18491"/>
                  </a:lnTo>
                  <a:lnTo>
                    <a:pt x="75617" y="17734"/>
                  </a:lnTo>
                  <a:lnTo>
                    <a:pt x="68194" y="7121"/>
                  </a:lnTo>
                  <a:lnTo>
                    <a:pt x="55610" y="1590"/>
                  </a:lnTo>
                  <a:lnTo>
                    <a:pt x="37693" y="0"/>
                  </a:lnTo>
                  <a:close/>
                </a:path>
                <a:path w="78104" h="101600">
                  <a:moveTo>
                    <a:pt x="75727" y="18491"/>
                  </a:moveTo>
                  <a:lnTo>
                    <a:pt x="54483" y="18491"/>
                  </a:lnTo>
                  <a:lnTo>
                    <a:pt x="55054" y="24549"/>
                  </a:lnTo>
                  <a:lnTo>
                    <a:pt x="55054" y="78879"/>
                  </a:lnTo>
                  <a:lnTo>
                    <a:pt x="52514" y="82702"/>
                  </a:lnTo>
                  <a:lnTo>
                    <a:pt x="75774" y="82702"/>
                  </a:lnTo>
                  <a:lnTo>
                    <a:pt x="76472" y="81394"/>
                  </a:lnTo>
                  <a:lnTo>
                    <a:pt x="78054" y="66471"/>
                  </a:lnTo>
                  <a:lnTo>
                    <a:pt x="78054" y="34569"/>
                  </a:lnTo>
                  <a:lnTo>
                    <a:pt x="75727" y="18491"/>
                  </a:lnTo>
                  <a:close/>
                </a:path>
              </a:pathLst>
            </a:custGeom>
            <a:solidFill>
              <a:srgbClr val="36393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1"/>
            <p:cNvSpPr/>
            <p:nvPr/>
          </p:nvSpPr>
          <p:spPr>
            <a:xfrm>
              <a:off x="10887566" y="6518764"/>
              <a:ext cx="77470" cy="101600"/>
            </a:xfrm>
            <a:custGeom>
              <a:avLst/>
              <a:gdLst/>
              <a:ahLst/>
              <a:cxnLst/>
              <a:rect l="l" t="t" r="r" b="b"/>
              <a:pathLst>
                <a:path w="77470" h="101600">
                  <a:moveTo>
                    <a:pt x="33312" y="0"/>
                  </a:moveTo>
                  <a:lnTo>
                    <a:pt x="0" y="0"/>
                  </a:lnTo>
                  <a:lnTo>
                    <a:pt x="0" y="101053"/>
                  </a:lnTo>
                  <a:lnTo>
                    <a:pt x="41351" y="101053"/>
                  </a:lnTo>
                  <a:lnTo>
                    <a:pt x="54233" y="100142"/>
                  </a:lnTo>
                  <a:lnTo>
                    <a:pt x="65647" y="96307"/>
                  </a:lnTo>
                  <a:lnTo>
                    <a:pt x="73807" y="87895"/>
                  </a:lnTo>
                  <a:lnTo>
                    <a:pt x="74909" y="82715"/>
                  </a:lnTo>
                  <a:lnTo>
                    <a:pt x="22999" y="82715"/>
                  </a:lnTo>
                  <a:lnTo>
                    <a:pt x="22999" y="57721"/>
                  </a:lnTo>
                  <a:lnTo>
                    <a:pt x="74635" y="57721"/>
                  </a:lnTo>
                  <a:lnTo>
                    <a:pt x="73201" y="54636"/>
                  </a:lnTo>
                  <a:lnTo>
                    <a:pt x="68292" y="50079"/>
                  </a:lnTo>
                  <a:lnTo>
                    <a:pt x="61125" y="47409"/>
                  </a:lnTo>
                  <a:lnTo>
                    <a:pt x="69303" y="45173"/>
                  </a:lnTo>
                  <a:lnTo>
                    <a:pt x="70876" y="40360"/>
                  </a:lnTo>
                  <a:lnTo>
                    <a:pt x="22999" y="40360"/>
                  </a:lnTo>
                  <a:lnTo>
                    <a:pt x="22999" y="18491"/>
                  </a:lnTo>
                  <a:lnTo>
                    <a:pt x="70318" y="18491"/>
                  </a:lnTo>
                  <a:lnTo>
                    <a:pt x="68920" y="11374"/>
                  </a:lnTo>
                  <a:lnTo>
                    <a:pt x="60836" y="3548"/>
                  </a:lnTo>
                  <a:lnTo>
                    <a:pt x="48623" y="510"/>
                  </a:lnTo>
                  <a:lnTo>
                    <a:pt x="33312" y="0"/>
                  </a:lnTo>
                  <a:close/>
                </a:path>
                <a:path w="77470" h="101600">
                  <a:moveTo>
                    <a:pt x="74635" y="57721"/>
                  </a:moveTo>
                  <a:lnTo>
                    <a:pt x="50812" y="57721"/>
                  </a:lnTo>
                  <a:lnTo>
                    <a:pt x="53924" y="60261"/>
                  </a:lnTo>
                  <a:lnTo>
                    <a:pt x="53924" y="79184"/>
                  </a:lnTo>
                  <a:lnTo>
                    <a:pt x="51511" y="82715"/>
                  </a:lnTo>
                  <a:lnTo>
                    <a:pt x="74909" y="82715"/>
                  </a:lnTo>
                  <a:lnTo>
                    <a:pt x="76923" y="73253"/>
                  </a:lnTo>
                  <a:lnTo>
                    <a:pt x="76904" y="67741"/>
                  </a:lnTo>
                  <a:lnTo>
                    <a:pt x="76021" y="60701"/>
                  </a:lnTo>
                  <a:lnTo>
                    <a:pt x="74635" y="57721"/>
                  </a:lnTo>
                  <a:close/>
                </a:path>
                <a:path w="77470" h="101600">
                  <a:moveTo>
                    <a:pt x="70318" y="18491"/>
                  </a:moveTo>
                  <a:lnTo>
                    <a:pt x="46583" y="18491"/>
                  </a:lnTo>
                  <a:lnTo>
                    <a:pt x="48844" y="20459"/>
                  </a:lnTo>
                  <a:lnTo>
                    <a:pt x="48844" y="37820"/>
                  </a:lnTo>
                  <a:lnTo>
                    <a:pt x="46723" y="40360"/>
                  </a:lnTo>
                  <a:lnTo>
                    <a:pt x="70876" y="40360"/>
                  </a:lnTo>
                  <a:lnTo>
                    <a:pt x="71843" y="37401"/>
                  </a:lnTo>
                  <a:lnTo>
                    <a:pt x="71843" y="26250"/>
                  </a:lnTo>
                  <a:lnTo>
                    <a:pt x="70318" y="18491"/>
                  </a:lnTo>
                  <a:close/>
                </a:path>
              </a:pathLst>
            </a:custGeom>
            <a:solidFill>
              <a:srgbClr val="36393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2"/>
            <p:cNvSpPr/>
            <p:nvPr/>
          </p:nvSpPr>
          <p:spPr>
            <a:xfrm>
              <a:off x="10969913" y="6518767"/>
              <a:ext cx="93980" cy="101600"/>
            </a:xfrm>
            <a:custGeom>
              <a:avLst/>
              <a:gdLst/>
              <a:ahLst/>
              <a:cxnLst/>
              <a:rect l="l" t="t" r="r" b="b"/>
              <a:pathLst>
                <a:path w="93979" h="101600">
                  <a:moveTo>
                    <a:pt x="26543" y="0"/>
                  </a:moveTo>
                  <a:lnTo>
                    <a:pt x="0" y="0"/>
                  </a:lnTo>
                  <a:lnTo>
                    <a:pt x="35280" y="65900"/>
                  </a:lnTo>
                  <a:lnTo>
                    <a:pt x="35280" y="101053"/>
                  </a:lnTo>
                  <a:lnTo>
                    <a:pt x="58305" y="101053"/>
                  </a:lnTo>
                  <a:lnTo>
                    <a:pt x="58305" y="65900"/>
                  </a:lnTo>
                  <a:lnTo>
                    <a:pt x="68653" y="46570"/>
                  </a:lnTo>
                  <a:lnTo>
                    <a:pt x="46850" y="46570"/>
                  </a:lnTo>
                  <a:lnTo>
                    <a:pt x="26543" y="0"/>
                  </a:lnTo>
                  <a:close/>
                </a:path>
                <a:path w="93979" h="101600">
                  <a:moveTo>
                    <a:pt x="93586" y="0"/>
                  </a:moveTo>
                  <a:lnTo>
                    <a:pt x="67056" y="0"/>
                  </a:lnTo>
                  <a:lnTo>
                    <a:pt x="46850" y="46570"/>
                  </a:lnTo>
                  <a:lnTo>
                    <a:pt x="68653" y="46570"/>
                  </a:lnTo>
                  <a:lnTo>
                    <a:pt x="93586" y="0"/>
                  </a:lnTo>
                  <a:close/>
                </a:path>
              </a:pathLst>
            </a:custGeom>
            <a:solidFill>
              <a:srgbClr val="36393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3"/>
            <p:cNvSpPr/>
            <p:nvPr/>
          </p:nvSpPr>
          <p:spPr>
            <a:xfrm>
              <a:off x="11115189" y="6517489"/>
              <a:ext cx="78740" cy="104139"/>
            </a:xfrm>
            <a:custGeom>
              <a:avLst/>
              <a:gdLst/>
              <a:ahLst/>
              <a:cxnLst/>
              <a:rect l="l" t="t" r="r" b="b"/>
              <a:pathLst>
                <a:path w="78740" h="104140">
                  <a:moveTo>
                    <a:pt x="35864" y="0"/>
                  </a:moveTo>
                  <a:lnTo>
                    <a:pt x="19122" y="2071"/>
                  </a:lnTo>
                  <a:lnTo>
                    <a:pt x="8031" y="8416"/>
                  </a:lnTo>
                  <a:lnTo>
                    <a:pt x="1890" y="19234"/>
                  </a:lnTo>
                  <a:lnTo>
                    <a:pt x="0" y="34721"/>
                  </a:lnTo>
                  <a:lnTo>
                    <a:pt x="0" y="74104"/>
                  </a:lnTo>
                  <a:lnTo>
                    <a:pt x="2728" y="88840"/>
                  </a:lnTo>
                  <a:lnTo>
                    <a:pt x="9967" y="97856"/>
                  </a:lnTo>
                  <a:lnTo>
                    <a:pt x="20300" y="102372"/>
                  </a:lnTo>
                  <a:lnTo>
                    <a:pt x="32308" y="103606"/>
                  </a:lnTo>
                  <a:lnTo>
                    <a:pt x="45774" y="103023"/>
                  </a:lnTo>
                  <a:lnTo>
                    <a:pt x="57789" y="101274"/>
                  </a:lnTo>
                  <a:lnTo>
                    <a:pt x="68640" y="98361"/>
                  </a:lnTo>
                  <a:lnTo>
                    <a:pt x="78613" y="94284"/>
                  </a:lnTo>
                  <a:lnTo>
                    <a:pt x="78613" y="85394"/>
                  </a:lnTo>
                  <a:lnTo>
                    <a:pt x="26809" y="85394"/>
                  </a:lnTo>
                  <a:lnTo>
                    <a:pt x="22999" y="83705"/>
                  </a:lnTo>
                  <a:lnTo>
                    <a:pt x="22999" y="23850"/>
                  </a:lnTo>
                  <a:lnTo>
                    <a:pt x="24561" y="18491"/>
                  </a:lnTo>
                  <a:lnTo>
                    <a:pt x="72588" y="18491"/>
                  </a:lnTo>
                  <a:lnTo>
                    <a:pt x="75920" y="3949"/>
                  </a:lnTo>
                  <a:lnTo>
                    <a:pt x="65122" y="2260"/>
                  </a:lnTo>
                  <a:lnTo>
                    <a:pt x="54673" y="1022"/>
                  </a:lnTo>
                  <a:lnTo>
                    <a:pt x="44834" y="259"/>
                  </a:lnTo>
                  <a:lnTo>
                    <a:pt x="35864" y="0"/>
                  </a:lnTo>
                  <a:close/>
                </a:path>
                <a:path w="78740" h="104140">
                  <a:moveTo>
                    <a:pt x="78613" y="41922"/>
                  </a:moveTo>
                  <a:lnTo>
                    <a:pt x="37274" y="41922"/>
                  </a:lnTo>
                  <a:lnTo>
                    <a:pt x="37274" y="60261"/>
                  </a:lnTo>
                  <a:lnTo>
                    <a:pt x="55613" y="60261"/>
                  </a:lnTo>
                  <a:lnTo>
                    <a:pt x="55613" y="82575"/>
                  </a:lnTo>
                  <a:lnTo>
                    <a:pt x="50253" y="84112"/>
                  </a:lnTo>
                  <a:lnTo>
                    <a:pt x="42049" y="85394"/>
                  </a:lnTo>
                  <a:lnTo>
                    <a:pt x="78613" y="85394"/>
                  </a:lnTo>
                  <a:lnTo>
                    <a:pt x="78613" y="41922"/>
                  </a:lnTo>
                  <a:close/>
                </a:path>
                <a:path w="78740" h="104140">
                  <a:moveTo>
                    <a:pt x="72588" y="18491"/>
                  </a:moveTo>
                  <a:lnTo>
                    <a:pt x="38379" y="18491"/>
                  </a:lnTo>
                  <a:lnTo>
                    <a:pt x="44801" y="18661"/>
                  </a:lnTo>
                  <a:lnTo>
                    <a:pt x="52254" y="19216"/>
                  </a:lnTo>
                  <a:lnTo>
                    <a:pt x="61135" y="20221"/>
                  </a:lnTo>
                  <a:lnTo>
                    <a:pt x="71843" y="21742"/>
                  </a:lnTo>
                  <a:lnTo>
                    <a:pt x="72588" y="18491"/>
                  </a:lnTo>
                  <a:close/>
                </a:path>
              </a:pathLst>
            </a:custGeom>
            <a:solidFill>
              <a:srgbClr val="AAD53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4"/>
            <p:cNvSpPr/>
            <p:nvPr/>
          </p:nvSpPr>
          <p:spPr>
            <a:xfrm>
              <a:off x="11215327" y="6518767"/>
              <a:ext cx="69850" cy="101600"/>
            </a:xfrm>
            <a:custGeom>
              <a:avLst/>
              <a:gdLst/>
              <a:ahLst/>
              <a:cxnLst/>
              <a:rect l="l" t="t" r="r" b="b"/>
              <a:pathLst>
                <a:path w="69850" h="101600">
                  <a:moveTo>
                    <a:pt x="69723" y="0"/>
                  </a:moveTo>
                  <a:lnTo>
                    <a:pt x="0" y="0"/>
                  </a:lnTo>
                  <a:lnTo>
                    <a:pt x="0" y="101053"/>
                  </a:lnTo>
                  <a:lnTo>
                    <a:pt x="69151" y="101053"/>
                  </a:lnTo>
                  <a:lnTo>
                    <a:pt x="69151" y="82130"/>
                  </a:lnTo>
                  <a:lnTo>
                    <a:pt x="22999" y="82130"/>
                  </a:lnTo>
                  <a:lnTo>
                    <a:pt x="22999" y="58000"/>
                  </a:lnTo>
                  <a:lnTo>
                    <a:pt x="63233" y="58000"/>
                  </a:lnTo>
                  <a:lnTo>
                    <a:pt x="66205" y="39077"/>
                  </a:lnTo>
                  <a:lnTo>
                    <a:pt x="22999" y="39077"/>
                  </a:lnTo>
                  <a:lnTo>
                    <a:pt x="22999" y="18897"/>
                  </a:lnTo>
                  <a:lnTo>
                    <a:pt x="66751" y="18897"/>
                  </a:lnTo>
                  <a:lnTo>
                    <a:pt x="69723" y="0"/>
                  </a:lnTo>
                  <a:close/>
                </a:path>
              </a:pathLst>
            </a:custGeom>
            <a:solidFill>
              <a:srgbClr val="AAD53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15"/>
            <p:cNvSpPr/>
            <p:nvPr/>
          </p:nvSpPr>
          <p:spPr>
            <a:xfrm>
              <a:off x="11305571" y="6518767"/>
              <a:ext cx="82550" cy="101600"/>
            </a:xfrm>
            <a:custGeom>
              <a:avLst/>
              <a:gdLst/>
              <a:ahLst/>
              <a:cxnLst/>
              <a:rect l="l" t="t" r="r" b="b"/>
              <a:pathLst>
                <a:path w="82550" h="101600">
                  <a:moveTo>
                    <a:pt x="22174" y="0"/>
                  </a:moveTo>
                  <a:lnTo>
                    <a:pt x="0" y="0"/>
                  </a:lnTo>
                  <a:lnTo>
                    <a:pt x="0" y="101053"/>
                  </a:lnTo>
                  <a:lnTo>
                    <a:pt x="22313" y="101053"/>
                  </a:lnTo>
                  <a:lnTo>
                    <a:pt x="22313" y="37541"/>
                  </a:lnTo>
                  <a:lnTo>
                    <a:pt x="44749" y="37541"/>
                  </a:lnTo>
                  <a:lnTo>
                    <a:pt x="22174" y="0"/>
                  </a:lnTo>
                  <a:close/>
                </a:path>
                <a:path w="82550" h="101600">
                  <a:moveTo>
                    <a:pt x="44749" y="37541"/>
                  </a:moveTo>
                  <a:lnTo>
                    <a:pt x="22313" y="37541"/>
                  </a:lnTo>
                  <a:lnTo>
                    <a:pt x="59156" y="101053"/>
                  </a:lnTo>
                  <a:lnTo>
                    <a:pt x="82308" y="101053"/>
                  </a:lnTo>
                  <a:lnTo>
                    <a:pt x="82308" y="62661"/>
                  </a:lnTo>
                  <a:lnTo>
                    <a:pt x="59855" y="62661"/>
                  </a:lnTo>
                  <a:lnTo>
                    <a:pt x="44749" y="37541"/>
                  </a:lnTo>
                  <a:close/>
                </a:path>
                <a:path w="82550" h="101600">
                  <a:moveTo>
                    <a:pt x="82308" y="0"/>
                  </a:moveTo>
                  <a:lnTo>
                    <a:pt x="59855" y="0"/>
                  </a:lnTo>
                  <a:lnTo>
                    <a:pt x="59855" y="62661"/>
                  </a:lnTo>
                  <a:lnTo>
                    <a:pt x="82308" y="62661"/>
                  </a:lnTo>
                  <a:lnTo>
                    <a:pt x="82308" y="0"/>
                  </a:lnTo>
                  <a:close/>
                </a:path>
              </a:pathLst>
            </a:custGeom>
            <a:solidFill>
              <a:srgbClr val="AAD53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16"/>
            <p:cNvSpPr/>
            <p:nvPr/>
          </p:nvSpPr>
          <p:spPr>
            <a:xfrm>
              <a:off x="11423288" y="6518770"/>
              <a:ext cx="0" cy="101600"/>
            </a:xfrm>
            <a:custGeom>
              <a:avLst/>
              <a:gdLst/>
              <a:ahLst/>
              <a:cxnLst/>
              <a:rect l="l" t="t" r="r" b="b"/>
              <a:pathLst>
                <a:path h="101600">
                  <a:moveTo>
                    <a:pt x="0" y="0"/>
                  </a:moveTo>
                  <a:lnTo>
                    <a:pt x="0" y="101053"/>
                  </a:lnTo>
                </a:path>
              </a:pathLst>
            </a:custGeom>
            <a:ln w="23025">
              <a:solidFill>
                <a:srgbClr val="AAD532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17"/>
            <p:cNvSpPr/>
            <p:nvPr/>
          </p:nvSpPr>
          <p:spPr>
            <a:xfrm>
              <a:off x="11457895" y="6518764"/>
              <a:ext cx="80645" cy="102870"/>
            </a:xfrm>
            <a:custGeom>
              <a:avLst/>
              <a:gdLst/>
              <a:ahLst/>
              <a:cxnLst/>
              <a:rect l="l" t="t" r="r" b="b"/>
              <a:pathLst>
                <a:path w="80645" h="102870">
                  <a:moveTo>
                    <a:pt x="22999" y="0"/>
                  </a:moveTo>
                  <a:lnTo>
                    <a:pt x="0" y="0"/>
                  </a:lnTo>
                  <a:lnTo>
                    <a:pt x="0" y="67462"/>
                  </a:lnTo>
                  <a:lnTo>
                    <a:pt x="2424" y="83209"/>
                  </a:lnTo>
                  <a:lnTo>
                    <a:pt x="9545" y="94053"/>
                  </a:lnTo>
                  <a:lnTo>
                    <a:pt x="21136" y="100320"/>
                  </a:lnTo>
                  <a:lnTo>
                    <a:pt x="36969" y="102336"/>
                  </a:lnTo>
                  <a:lnTo>
                    <a:pt x="43332" y="102336"/>
                  </a:lnTo>
                  <a:lnTo>
                    <a:pt x="59237" y="100320"/>
                  </a:lnTo>
                  <a:lnTo>
                    <a:pt x="70824" y="94053"/>
                  </a:lnTo>
                  <a:lnTo>
                    <a:pt x="77222" y="84264"/>
                  </a:lnTo>
                  <a:lnTo>
                    <a:pt x="25272" y="84264"/>
                  </a:lnTo>
                  <a:lnTo>
                    <a:pt x="22999" y="77355"/>
                  </a:lnTo>
                  <a:lnTo>
                    <a:pt x="22999" y="0"/>
                  </a:lnTo>
                  <a:close/>
                </a:path>
                <a:path w="80645" h="102870">
                  <a:moveTo>
                    <a:pt x="80314" y="0"/>
                  </a:moveTo>
                  <a:lnTo>
                    <a:pt x="57302" y="0"/>
                  </a:lnTo>
                  <a:lnTo>
                    <a:pt x="57302" y="77355"/>
                  </a:lnTo>
                  <a:lnTo>
                    <a:pt x="55041" y="84264"/>
                  </a:lnTo>
                  <a:lnTo>
                    <a:pt x="77222" y="84264"/>
                  </a:lnTo>
                  <a:lnTo>
                    <a:pt x="77911" y="83209"/>
                  </a:lnTo>
                  <a:lnTo>
                    <a:pt x="80314" y="67462"/>
                  </a:lnTo>
                  <a:lnTo>
                    <a:pt x="80314" y="0"/>
                  </a:lnTo>
                  <a:close/>
                </a:path>
              </a:pathLst>
            </a:custGeom>
            <a:solidFill>
              <a:srgbClr val="AAD53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18"/>
            <p:cNvSpPr/>
            <p:nvPr/>
          </p:nvSpPr>
          <p:spPr>
            <a:xfrm>
              <a:off x="11556469" y="6517483"/>
              <a:ext cx="77470" cy="104139"/>
            </a:xfrm>
            <a:custGeom>
              <a:avLst/>
              <a:gdLst/>
              <a:ahLst/>
              <a:cxnLst/>
              <a:rect l="l" t="t" r="r" b="b"/>
              <a:pathLst>
                <a:path w="77470" h="104140">
                  <a:moveTo>
                    <a:pt x="6222" y="80175"/>
                  </a:moveTo>
                  <a:lnTo>
                    <a:pt x="38404" y="103619"/>
                  </a:lnTo>
                  <a:lnTo>
                    <a:pt x="55638" y="101547"/>
                  </a:lnTo>
                  <a:lnTo>
                    <a:pt x="67835" y="95623"/>
                  </a:lnTo>
                  <a:lnTo>
                    <a:pt x="75086" y="86286"/>
                  </a:lnTo>
                  <a:lnTo>
                    <a:pt x="75395" y="84696"/>
                  </a:lnTo>
                  <a:lnTo>
                    <a:pt x="38252" y="84696"/>
                  </a:lnTo>
                  <a:lnTo>
                    <a:pt x="28716" y="84229"/>
                  </a:lnTo>
                  <a:lnTo>
                    <a:pt x="19794" y="83073"/>
                  </a:lnTo>
                  <a:lnTo>
                    <a:pt x="12093" y="81599"/>
                  </a:lnTo>
                  <a:lnTo>
                    <a:pt x="6222" y="80175"/>
                  </a:lnTo>
                  <a:close/>
                </a:path>
                <a:path w="77470" h="104140">
                  <a:moveTo>
                    <a:pt x="35140" y="0"/>
                  </a:moveTo>
                  <a:lnTo>
                    <a:pt x="31762" y="0"/>
                  </a:lnTo>
                  <a:lnTo>
                    <a:pt x="18543" y="1891"/>
                  </a:lnTo>
                  <a:lnTo>
                    <a:pt x="8699" y="7504"/>
                  </a:lnTo>
                  <a:lnTo>
                    <a:pt x="2484" y="16743"/>
                  </a:lnTo>
                  <a:lnTo>
                    <a:pt x="152" y="29514"/>
                  </a:lnTo>
                  <a:lnTo>
                    <a:pt x="152" y="32181"/>
                  </a:lnTo>
                  <a:lnTo>
                    <a:pt x="1880" y="43655"/>
                  </a:lnTo>
                  <a:lnTo>
                    <a:pt x="7100" y="52377"/>
                  </a:lnTo>
                  <a:lnTo>
                    <a:pt x="15866" y="57924"/>
                  </a:lnTo>
                  <a:lnTo>
                    <a:pt x="28232" y="59867"/>
                  </a:lnTo>
                  <a:lnTo>
                    <a:pt x="50253" y="59867"/>
                  </a:lnTo>
                  <a:lnTo>
                    <a:pt x="54051" y="62255"/>
                  </a:lnTo>
                  <a:lnTo>
                    <a:pt x="54051" y="80175"/>
                  </a:lnTo>
                  <a:lnTo>
                    <a:pt x="49682" y="84696"/>
                  </a:lnTo>
                  <a:lnTo>
                    <a:pt x="75395" y="84696"/>
                  </a:lnTo>
                  <a:lnTo>
                    <a:pt x="77482" y="73977"/>
                  </a:lnTo>
                  <a:lnTo>
                    <a:pt x="77482" y="68897"/>
                  </a:lnTo>
                  <a:lnTo>
                    <a:pt x="75363" y="55619"/>
                  </a:lnTo>
                  <a:lnTo>
                    <a:pt x="69303" y="46789"/>
                  </a:lnTo>
                  <a:lnTo>
                    <a:pt x="59748" y="41879"/>
                  </a:lnTo>
                  <a:lnTo>
                    <a:pt x="47142" y="40360"/>
                  </a:lnTo>
                  <a:lnTo>
                    <a:pt x="25552" y="40360"/>
                  </a:lnTo>
                  <a:lnTo>
                    <a:pt x="23431" y="36842"/>
                  </a:lnTo>
                  <a:lnTo>
                    <a:pt x="23431" y="23025"/>
                  </a:lnTo>
                  <a:lnTo>
                    <a:pt x="25971" y="18923"/>
                  </a:lnTo>
                  <a:lnTo>
                    <a:pt x="71449" y="18923"/>
                  </a:lnTo>
                  <a:lnTo>
                    <a:pt x="77203" y="3670"/>
                  </a:lnTo>
                  <a:lnTo>
                    <a:pt x="68564" y="2507"/>
                  </a:lnTo>
                  <a:lnTo>
                    <a:pt x="57548" y="1311"/>
                  </a:lnTo>
                  <a:lnTo>
                    <a:pt x="45844" y="377"/>
                  </a:lnTo>
                  <a:lnTo>
                    <a:pt x="35140" y="0"/>
                  </a:lnTo>
                  <a:close/>
                </a:path>
                <a:path w="77470" h="104140">
                  <a:moveTo>
                    <a:pt x="71449" y="18923"/>
                  </a:moveTo>
                  <a:lnTo>
                    <a:pt x="37274" y="18923"/>
                  </a:lnTo>
                  <a:lnTo>
                    <a:pt x="44255" y="19216"/>
                  </a:lnTo>
                  <a:lnTo>
                    <a:pt x="52844" y="19835"/>
                  </a:lnTo>
                  <a:lnTo>
                    <a:pt x="61938" y="20671"/>
                  </a:lnTo>
                  <a:lnTo>
                    <a:pt x="70434" y="21615"/>
                  </a:lnTo>
                  <a:lnTo>
                    <a:pt x="71449" y="18923"/>
                  </a:lnTo>
                  <a:close/>
                </a:path>
              </a:pathLst>
            </a:custGeom>
            <a:solidFill>
              <a:srgbClr val="AAD53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24" name="Group 23"/>
          <p:cNvGrpSpPr/>
          <p:nvPr userDrawn="1"/>
        </p:nvGrpSpPr>
        <p:grpSpPr>
          <a:xfrm>
            <a:off x="457200" y="6317401"/>
            <a:ext cx="1213551" cy="354223"/>
            <a:chOff x="698301" y="6317401"/>
            <a:chExt cx="1213551" cy="354223"/>
          </a:xfrm>
        </p:grpSpPr>
        <p:sp>
          <p:nvSpPr>
            <p:cNvPr id="25" name="object 2"/>
            <p:cNvSpPr/>
            <p:nvPr/>
          </p:nvSpPr>
          <p:spPr>
            <a:xfrm>
              <a:off x="698301" y="6317401"/>
              <a:ext cx="500380" cy="0"/>
            </a:xfrm>
            <a:custGeom>
              <a:avLst/>
              <a:gdLst/>
              <a:ahLst/>
              <a:cxnLst/>
              <a:rect l="l" t="t" r="r" b="b"/>
              <a:pathLst>
                <a:path w="500380">
                  <a:moveTo>
                    <a:pt x="0" y="0"/>
                  </a:moveTo>
                  <a:lnTo>
                    <a:pt x="499808" y="0"/>
                  </a:lnTo>
                </a:path>
              </a:pathLst>
            </a:custGeom>
            <a:ln w="10058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19"/>
            <p:cNvSpPr/>
            <p:nvPr/>
          </p:nvSpPr>
          <p:spPr>
            <a:xfrm>
              <a:off x="820922" y="6518988"/>
              <a:ext cx="96520" cy="101600"/>
            </a:xfrm>
            <a:custGeom>
              <a:avLst/>
              <a:gdLst/>
              <a:ahLst/>
              <a:cxnLst/>
              <a:rect l="l" t="t" r="r" b="b"/>
              <a:pathLst>
                <a:path w="96519" h="101600">
                  <a:moveTo>
                    <a:pt x="45491" y="0"/>
                  </a:moveTo>
                  <a:lnTo>
                    <a:pt x="0" y="0"/>
                  </a:lnTo>
                  <a:lnTo>
                    <a:pt x="0" y="24536"/>
                  </a:lnTo>
                  <a:lnTo>
                    <a:pt x="45491" y="24536"/>
                  </a:lnTo>
                  <a:lnTo>
                    <a:pt x="55678" y="26591"/>
                  </a:lnTo>
                  <a:lnTo>
                    <a:pt x="63998" y="32197"/>
                  </a:lnTo>
                  <a:lnTo>
                    <a:pt x="69608" y="40513"/>
                  </a:lnTo>
                  <a:lnTo>
                    <a:pt x="71666" y="50698"/>
                  </a:lnTo>
                  <a:lnTo>
                    <a:pt x="69608" y="60885"/>
                  </a:lnTo>
                  <a:lnTo>
                    <a:pt x="63998" y="69205"/>
                  </a:lnTo>
                  <a:lnTo>
                    <a:pt x="55678" y="74815"/>
                  </a:lnTo>
                  <a:lnTo>
                    <a:pt x="45491" y="76873"/>
                  </a:lnTo>
                  <a:lnTo>
                    <a:pt x="0" y="76873"/>
                  </a:lnTo>
                  <a:lnTo>
                    <a:pt x="0" y="101396"/>
                  </a:lnTo>
                  <a:lnTo>
                    <a:pt x="45491" y="101396"/>
                  </a:lnTo>
                  <a:lnTo>
                    <a:pt x="65227" y="97413"/>
                  </a:lnTo>
                  <a:lnTo>
                    <a:pt x="81341" y="86548"/>
                  </a:lnTo>
                  <a:lnTo>
                    <a:pt x="92206" y="70434"/>
                  </a:lnTo>
                  <a:lnTo>
                    <a:pt x="96189" y="50698"/>
                  </a:lnTo>
                  <a:lnTo>
                    <a:pt x="92206" y="30962"/>
                  </a:lnTo>
                  <a:lnTo>
                    <a:pt x="81341" y="14847"/>
                  </a:lnTo>
                  <a:lnTo>
                    <a:pt x="65227" y="3983"/>
                  </a:lnTo>
                  <a:lnTo>
                    <a:pt x="45491" y="0"/>
                  </a:lnTo>
                  <a:close/>
                </a:path>
              </a:pathLst>
            </a:custGeom>
            <a:solidFill>
              <a:srgbClr val="36393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0"/>
            <p:cNvSpPr/>
            <p:nvPr/>
          </p:nvSpPr>
          <p:spPr>
            <a:xfrm>
              <a:off x="919878" y="6518409"/>
              <a:ext cx="113664" cy="102870"/>
            </a:xfrm>
            <a:custGeom>
              <a:avLst/>
              <a:gdLst/>
              <a:ahLst/>
              <a:cxnLst/>
              <a:rect l="l" t="t" r="r" b="b"/>
              <a:pathLst>
                <a:path w="113665" h="102870">
                  <a:moveTo>
                    <a:pt x="70319" y="0"/>
                  </a:moveTo>
                  <a:lnTo>
                    <a:pt x="43256" y="0"/>
                  </a:lnTo>
                  <a:lnTo>
                    <a:pt x="0" y="102438"/>
                  </a:lnTo>
                  <a:lnTo>
                    <a:pt x="29197" y="102438"/>
                  </a:lnTo>
                  <a:lnTo>
                    <a:pt x="56337" y="32613"/>
                  </a:lnTo>
                  <a:lnTo>
                    <a:pt x="84095" y="32613"/>
                  </a:lnTo>
                  <a:lnTo>
                    <a:pt x="70319" y="0"/>
                  </a:lnTo>
                  <a:close/>
                </a:path>
                <a:path w="113665" h="102870">
                  <a:moveTo>
                    <a:pt x="84095" y="32613"/>
                  </a:moveTo>
                  <a:lnTo>
                    <a:pt x="57251" y="32613"/>
                  </a:lnTo>
                  <a:lnTo>
                    <a:pt x="84391" y="102438"/>
                  </a:lnTo>
                  <a:lnTo>
                    <a:pt x="113588" y="102438"/>
                  </a:lnTo>
                  <a:lnTo>
                    <a:pt x="84095" y="32613"/>
                  </a:lnTo>
                  <a:close/>
                </a:path>
              </a:pathLst>
            </a:custGeom>
            <a:solidFill>
              <a:srgbClr val="36393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1"/>
            <p:cNvSpPr/>
            <p:nvPr/>
          </p:nvSpPr>
          <p:spPr>
            <a:xfrm>
              <a:off x="1406795" y="6517950"/>
              <a:ext cx="113664" cy="102870"/>
            </a:xfrm>
            <a:custGeom>
              <a:avLst/>
              <a:gdLst/>
              <a:ahLst/>
              <a:cxnLst/>
              <a:rect l="l" t="t" r="r" b="b"/>
              <a:pathLst>
                <a:path w="113665" h="102870">
                  <a:moveTo>
                    <a:pt x="70319" y="0"/>
                  </a:moveTo>
                  <a:lnTo>
                    <a:pt x="43268" y="0"/>
                  </a:lnTo>
                  <a:lnTo>
                    <a:pt x="0" y="102438"/>
                  </a:lnTo>
                  <a:lnTo>
                    <a:pt x="29197" y="102438"/>
                  </a:lnTo>
                  <a:lnTo>
                    <a:pt x="56337" y="32613"/>
                  </a:lnTo>
                  <a:lnTo>
                    <a:pt x="84095" y="32613"/>
                  </a:lnTo>
                  <a:lnTo>
                    <a:pt x="70319" y="0"/>
                  </a:lnTo>
                  <a:close/>
                </a:path>
                <a:path w="113665" h="102870">
                  <a:moveTo>
                    <a:pt x="84095" y="32613"/>
                  </a:moveTo>
                  <a:lnTo>
                    <a:pt x="57251" y="32613"/>
                  </a:lnTo>
                  <a:lnTo>
                    <a:pt x="84391" y="102438"/>
                  </a:lnTo>
                  <a:lnTo>
                    <a:pt x="113588" y="102438"/>
                  </a:lnTo>
                  <a:lnTo>
                    <a:pt x="84095" y="32613"/>
                  </a:lnTo>
                  <a:close/>
                </a:path>
              </a:pathLst>
            </a:custGeom>
            <a:solidFill>
              <a:srgbClr val="36393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2"/>
            <p:cNvSpPr/>
            <p:nvPr/>
          </p:nvSpPr>
          <p:spPr>
            <a:xfrm>
              <a:off x="1046305" y="6518419"/>
              <a:ext cx="93980" cy="102870"/>
            </a:xfrm>
            <a:custGeom>
              <a:avLst/>
              <a:gdLst/>
              <a:ahLst/>
              <a:cxnLst/>
              <a:rect l="l" t="t" r="r" b="b"/>
              <a:pathLst>
                <a:path w="93980" h="102870">
                  <a:moveTo>
                    <a:pt x="49987" y="0"/>
                  </a:moveTo>
                  <a:lnTo>
                    <a:pt x="0" y="0"/>
                  </a:lnTo>
                  <a:lnTo>
                    <a:pt x="0" y="102425"/>
                  </a:lnTo>
                  <a:lnTo>
                    <a:pt x="27254" y="102425"/>
                  </a:lnTo>
                  <a:lnTo>
                    <a:pt x="27254" y="71056"/>
                  </a:lnTo>
                  <a:lnTo>
                    <a:pt x="71895" y="71056"/>
                  </a:lnTo>
                  <a:lnTo>
                    <a:pt x="69316" y="67360"/>
                  </a:lnTo>
                  <a:lnTo>
                    <a:pt x="81379" y="62046"/>
                  </a:lnTo>
                  <a:lnTo>
                    <a:pt x="87574" y="56900"/>
                  </a:lnTo>
                  <a:lnTo>
                    <a:pt x="89749" y="49263"/>
                  </a:lnTo>
                  <a:lnTo>
                    <a:pt x="27254" y="49263"/>
                  </a:lnTo>
                  <a:lnTo>
                    <a:pt x="27254" y="23964"/>
                  </a:lnTo>
                  <a:lnTo>
                    <a:pt x="88076" y="23964"/>
                  </a:lnTo>
                  <a:lnTo>
                    <a:pt x="87095" y="18838"/>
                  </a:lnTo>
                  <a:lnTo>
                    <a:pt x="78600" y="8004"/>
                  </a:lnTo>
                  <a:lnTo>
                    <a:pt x="65847" y="1908"/>
                  </a:lnTo>
                  <a:lnTo>
                    <a:pt x="49987" y="0"/>
                  </a:lnTo>
                  <a:close/>
                </a:path>
                <a:path w="93980" h="102870">
                  <a:moveTo>
                    <a:pt x="71895" y="71056"/>
                  </a:moveTo>
                  <a:lnTo>
                    <a:pt x="40728" y="71056"/>
                  </a:lnTo>
                  <a:lnTo>
                    <a:pt x="61391" y="102425"/>
                  </a:lnTo>
                  <a:lnTo>
                    <a:pt x="93789" y="102425"/>
                  </a:lnTo>
                  <a:lnTo>
                    <a:pt x="71895" y="71056"/>
                  </a:lnTo>
                  <a:close/>
                </a:path>
                <a:path w="93980" h="102870">
                  <a:moveTo>
                    <a:pt x="88076" y="23964"/>
                  </a:moveTo>
                  <a:lnTo>
                    <a:pt x="63754" y="23964"/>
                  </a:lnTo>
                  <a:lnTo>
                    <a:pt x="62420" y="37020"/>
                  </a:lnTo>
                  <a:lnTo>
                    <a:pt x="62420" y="49263"/>
                  </a:lnTo>
                  <a:lnTo>
                    <a:pt x="89749" y="49263"/>
                  </a:lnTo>
                  <a:lnTo>
                    <a:pt x="89856" y="48885"/>
                  </a:lnTo>
                  <a:lnTo>
                    <a:pt x="90182" y="34963"/>
                  </a:lnTo>
                  <a:lnTo>
                    <a:pt x="88076" y="23964"/>
                  </a:lnTo>
                  <a:close/>
                </a:path>
              </a:pathLst>
            </a:custGeom>
            <a:solidFill>
              <a:srgbClr val="36393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23"/>
            <p:cNvSpPr/>
            <p:nvPr/>
          </p:nvSpPr>
          <p:spPr>
            <a:xfrm>
              <a:off x="1817872" y="6517958"/>
              <a:ext cx="93980" cy="102870"/>
            </a:xfrm>
            <a:custGeom>
              <a:avLst/>
              <a:gdLst/>
              <a:ahLst/>
              <a:cxnLst/>
              <a:rect l="l" t="t" r="r" b="b"/>
              <a:pathLst>
                <a:path w="93980" h="102870">
                  <a:moveTo>
                    <a:pt x="50799" y="0"/>
                  </a:moveTo>
                  <a:lnTo>
                    <a:pt x="0" y="0"/>
                  </a:lnTo>
                  <a:lnTo>
                    <a:pt x="0" y="102425"/>
                  </a:lnTo>
                  <a:lnTo>
                    <a:pt x="27254" y="102425"/>
                  </a:lnTo>
                  <a:lnTo>
                    <a:pt x="27254" y="71056"/>
                  </a:lnTo>
                  <a:lnTo>
                    <a:pt x="71895" y="71056"/>
                  </a:lnTo>
                  <a:lnTo>
                    <a:pt x="69316" y="67360"/>
                  </a:lnTo>
                  <a:lnTo>
                    <a:pt x="81379" y="62061"/>
                  </a:lnTo>
                  <a:lnTo>
                    <a:pt x="87574" y="56919"/>
                  </a:lnTo>
                  <a:lnTo>
                    <a:pt x="89753" y="49263"/>
                  </a:lnTo>
                  <a:lnTo>
                    <a:pt x="27254" y="49263"/>
                  </a:lnTo>
                  <a:lnTo>
                    <a:pt x="27254" y="23964"/>
                  </a:lnTo>
                  <a:lnTo>
                    <a:pt x="88088" y="23964"/>
                  </a:lnTo>
                  <a:lnTo>
                    <a:pt x="87225" y="19432"/>
                  </a:lnTo>
                  <a:lnTo>
                    <a:pt x="79016" y="8532"/>
                  </a:lnTo>
                  <a:lnTo>
                    <a:pt x="66544" y="2107"/>
                  </a:lnTo>
                  <a:lnTo>
                    <a:pt x="50799" y="0"/>
                  </a:lnTo>
                  <a:close/>
                </a:path>
                <a:path w="93980" h="102870">
                  <a:moveTo>
                    <a:pt x="71895" y="71056"/>
                  </a:moveTo>
                  <a:lnTo>
                    <a:pt x="40728" y="71056"/>
                  </a:lnTo>
                  <a:lnTo>
                    <a:pt x="61391" y="102425"/>
                  </a:lnTo>
                  <a:lnTo>
                    <a:pt x="93789" y="102425"/>
                  </a:lnTo>
                  <a:lnTo>
                    <a:pt x="71895" y="71056"/>
                  </a:lnTo>
                  <a:close/>
                </a:path>
                <a:path w="93980" h="102870">
                  <a:moveTo>
                    <a:pt x="88088" y="23964"/>
                  </a:moveTo>
                  <a:lnTo>
                    <a:pt x="63753" y="23964"/>
                  </a:lnTo>
                  <a:lnTo>
                    <a:pt x="62420" y="37020"/>
                  </a:lnTo>
                  <a:lnTo>
                    <a:pt x="62420" y="49263"/>
                  </a:lnTo>
                  <a:lnTo>
                    <a:pt x="89753" y="49263"/>
                  </a:lnTo>
                  <a:lnTo>
                    <a:pt x="89856" y="48899"/>
                  </a:lnTo>
                  <a:lnTo>
                    <a:pt x="90182" y="34963"/>
                  </a:lnTo>
                  <a:lnTo>
                    <a:pt x="88088" y="23964"/>
                  </a:lnTo>
                  <a:close/>
                </a:path>
              </a:pathLst>
            </a:custGeom>
            <a:solidFill>
              <a:srgbClr val="36393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24"/>
            <p:cNvSpPr/>
            <p:nvPr/>
          </p:nvSpPr>
          <p:spPr>
            <a:xfrm>
              <a:off x="1161114" y="6517961"/>
              <a:ext cx="98425" cy="102870"/>
            </a:xfrm>
            <a:custGeom>
              <a:avLst/>
              <a:gdLst/>
              <a:ahLst/>
              <a:cxnLst/>
              <a:rect l="l" t="t" r="r" b="b"/>
              <a:pathLst>
                <a:path w="98425" h="102870">
                  <a:moveTo>
                    <a:pt x="27012" y="0"/>
                  </a:moveTo>
                  <a:lnTo>
                    <a:pt x="0" y="0"/>
                  </a:lnTo>
                  <a:lnTo>
                    <a:pt x="0" y="102425"/>
                  </a:lnTo>
                  <a:lnTo>
                    <a:pt x="27012" y="102425"/>
                  </a:lnTo>
                  <a:lnTo>
                    <a:pt x="27012" y="76885"/>
                  </a:lnTo>
                  <a:lnTo>
                    <a:pt x="38112" y="64173"/>
                  </a:lnTo>
                  <a:lnTo>
                    <a:pt x="71517" y="64173"/>
                  </a:lnTo>
                  <a:lnTo>
                    <a:pt x="58127" y="44919"/>
                  </a:lnTo>
                  <a:lnTo>
                    <a:pt x="58127" y="44043"/>
                  </a:lnTo>
                  <a:lnTo>
                    <a:pt x="59157" y="42862"/>
                  </a:lnTo>
                  <a:lnTo>
                    <a:pt x="27012" y="42862"/>
                  </a:lnTo>
                  <a:lnTo>
                    <a:pt x="27012" y="0"/>
                  </a:lnTo>
                  <a:close/>
                </a:path>
                <a:path w="98425" h="102870">
                  <a:moveTo>
                    <a:pt x="71517" y="64173"/>
                  </a:moveTo>
                  <a:lnTo>
                    <a:pt x="39001" y="64173"/>
                  </a:lnTo>
                  <a:lnTo>
                    <a:pt x="63614" y="102425"/>
                  </a:lnTo>
                  <a:lnTo>
                    <a:pt x="98120" y="102425"/>
                  </a:lnTo>
                  <a:lnTo>
                    <a:pt x="71517" y="64173"/>
                  </a:lnTo>
                  <a:close/>
                </a:path>
                <a:path w="98425" h="102870">
                  <a:moveTo>
                    <a:pt x="96519" y="0"/>
                  </a:moveTo>
                  <a:lnTo>
                    <a:pt x="63855" y="0"/>
                  </a:lnTo>
                  <a:lnTo>
                    <a:pt x="27914" y="42862"/>
                  </a:lnTo>
                  <a:lnTo>
                    <a:pt x="59157" y="42862"/>
                  </a:lnTo>
                  <a:lnTo>
                    <a:pt x="96519" y="0"/>
                  </a:lnTo>
                  <a:close/>
                </a:path>
              </a:pathLst>
            </a:custGeom>
            <a:solidFill>
              <a:srgbClr val="36393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25"/>
            <p:cNvSpPr/>
            <p:nvPr/>
          </p:nvSpPr>
          <p:spPr>
            <a:xfrm>
              <a:off x="1561706" y="6542202"/>
              <a:ext cx="0" cy="78740"/>
            </a:xfrm>
            <a:custGeom>
              <a:avLst/>
              <a:gdLst/>
              <a:ahLst/>
              <a:cxnLst/>
              <a:rect l="l" t="t" r="r" b="b"/>
              <a:pathLst>
                <a:path h="78740">
                  <a:moveTo>
                    <a:pt x="0" y="0"/>
                  </a:moveTo>
                  <a:lnTo>
                    <a:pt x="0" y="78181"/>
                  </a:lnTo>
                </a:path>
              </a:pathLst>
            </a:custGeom>
            <a:ln w="27012">
              <a:solidFill>
                <a:srgbClr val="36393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26"/>
            <p:cNvSpPr/>
            <p:nvPr/>
          </p:nvSpPr>
          <p:spPr>
            <a:xfrm>
              <a:off x="1514024" y="6530074"/>
              <a:ext cx="93980" cy="0"/>
            </a:xfrm>
            <a:custGeom>
              <a:avLst/>
              <a:gdLst/>
              <a:ahLst/>
              <a:cxnLst/>
              <a:rect l="l" t="t" r="r" b="b"/>
              <a:pathLst>
                <a:path w="93980">
                  <a:moveTo>
                    <a:pt x="0" y="0"/>
                  </a:moveTo>
                  <a:lnTo>
                    <a:pt x="93522" y="0"/>
                  </a:lnTo>
                </a:path>
              </a:pathLst>
            </a:custGeom>
            <a:ln w="24257">
              <a:solidFill>
                <a:srgbClr val="36393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27"/>
            <p:cNvSpPr/>
            <p:nvPr/>
          </p:nvSpPr>
          <p:spPr>
            <a:xfrm>
              <a:off x="1663095" y="6542202"/>
              <a:ext cx="0" cy="78740"/>
            </a:xfrm>
            <a:custGeom>
              <a:avLst/>
              <a:gdLst/>
              <a:ahLst/>
              <a:cxnLst/>
              <a:rect l="l" t="t" r="r" b="b"/>
              <a:pathLst>
                <a:path h="78740">
                  <a:moveTo>
                    <a:pt x="0" y="0"/>
                  </a:moveTo>
                  <a:lnTo>
                    <a:pt x="0" y="78181"/>
                  </a:lnTo>
                </a:path>
              </a:pathLst>
            </a:custGeom>
            <a:ln w="27012">
              <a:solidFill>
                <a:srgbClr val="36393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28"/>
            <p:cNvSpPr/>
            <p:nvPr/>
          </p:nvSpPr>
          <p:spPr>
            <a:xfrm>
              <a:off x="1615413" y="6530074"/>
              <a:ext cx="93980" cy="0"/>
            </a:xfrm>
            <a:custGeom>
              <a:avLst/>
              <a:gdLst/>
              <a:ahLst/>
              <a:cxnLst/>
              <a:rect l="l" t="t" r="r" b="b"/>
              <a:pathLst>
                <a:path w="93980">
                  <a:moveTo>
                    <a:pt x="0" y="0"/>
                  </a:moveTo>
                  <a:lnTo>
                    <a:pt x="93522" y="0"/>
                  </a:lnTo>
                </a:path>
              </a:pathLst>
            </a:custGeom>
            <a:ln w="24257">
              <a:solidFill>
                <a:srgbClr val="36393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29"/>
            <p:cNvSpPr/>
            <p:nvPr/>
          </p:nvSpPr>
          <p:spPr>
            <a:xfrm>
              <a:off x="1723325" y="6517964"/>
              <a:ext cx="77470" cy="102870"/>
            </a:xfrm>
            <a:custGeom>
              <a:avLst/>
              <a:gdLst/>
              <a:ahLst/>
              <a:cxnLst/>
              <a:rect l="l" t="t" r="r" b="b"/>
              <a:pathLst>
                <a:path w="77469" h="102870">
                  <a:moveTo>
                    <a:pt x="77190" y="0"/>
                  </a:moveTo>
                  <a:lnTo>
                    <a:pt x="0" y="0"/>
                  </a:lnTo>
                  <a:lnTo>
                    <a:pt x="0" y="102412"/>
                  </a:lnTo>
                  <a:lnTo>
                    <a:pt x="77190" y="102412"/>
                  </a:lnTo>
                  <a:lnTo>
                    <a:pt x="77190" y="77711"/>
                  </a:lnTo>
                  <a:lnTo>
                    <a:pt x="27025" y="77711"/>
                  </a:lnTo>
                  <a:lnTo>
                    <a:pt x="27025" y="62420"/>
                  </a:lnTo>
                  <a:lnTo>
                    <a:pt x="69075" y="62420"/>
                  </a:lnTo>
                  <a:lnTo>
                    <a:pt x="69075" y="40004"/>
                  </a:lnTo>
                  <a:lnTo>
                    <a:pt x="27025" y="40004"/>
                  </a:lnTo>
                  <a:lnTo>
                    <a:pt x="27025" y="24714"/>
                  </a:lnTo>
                  <a:lnTo>
                    <a:pt x="77190" y="24714"/>
                  </a:lnTo>
                  <a:lnTo>
                    <a:pt x="77190" y="0"/>
                  </a:lnTo>
                  <a:close/>
                </a:path>
              </a:pathLst>
            </a:custGeom>
            <a:solidFill>
              <a:srgbClr val="36393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30"/>
            <p:cNvSpPr/>
            <p:nvPr/>
          </p:nvSpPr>
          <p:spPr>
            <a:xfrm>
              <a:off x="1273870" y="6517946"/>
              <a:ext cx="120650" cy="102870"/>
            </a:xfrm>
            <a:custGeom>
              <a:avLst/>
              <a:gdLst/>
              <a:ahLst/>
              <a:cxnLst/>
              <a:rect l="l" t="t" r="r" b="b"/>
              <a:pathLst>
                <a:path w="120650" h="102870">
                  <a:moveTo>
                    <a:pt x="27025" y="0"/>
                  </a:moveTo>
                  <a:lnTo>
                    <a:pt x="0" y="0"/>
                  </a:lnTo>
                  <a:lnTo>
                    <a:pt x="0" y="102438"/>
                  </a:lnTo>
                  <a:lnTo>
                    <a:pt x="27025" y="102438"/>
                  </a:lnTo>
                  <a:lnTo>
                    <a:pt x="27025" y="41592"/>
                  </a:lnTo>
                  <a:lnTo>
                    <a:pt x="120332" y="41592"/>
                  </a:lnTo>
                  <a:lnTo>
                    <a:pt x="120332" y="39573"/>
                  </a:lnTo>
                  <a:lnTo>
                    <a:pt x="59867" y="39573"/>
                  </a:lnTo>
                  <a:lnTo>
                    <a:pt x="27025" y="0"/>
                  </a:lnTo>
                  <a:close/>
                </a:path>
                <a:path w="120650" h="102870">
                  <a:moveTo>
                    <a:pt x="120332" y="42011"/>
                  </a:moveTo>
                  <a:lnTo>
                    <a:pt x="93332" y="42011"/>
                  </a:lnTo>
                  <a:lnTo>
                    <a:pt x="93332" y="102438"/>
                  </a:lnTo>
                  <a:lnTo>
                    <a:pt x="120332" y="102438"/>
                  </a:lnTo>
                  <a:lnTo>
                    <a:pt x="120332" y="42011"/>
                  </a:lnTo>
                  <a:close/>
                </a:path>
                <a:path w="120650" h="102870">
                  <a:moveTo>
                    <a:pt x="120332" y="41592"/>
                  </a:moveTo>
                  <a:lnTo>
                    <a:pt x="27025" y="41592"/>
                  </a:lnTo>
                  <a:lnTo>
                    <a:pt x="61239" y="78016"/>
                  </a:lnTo>
                  <a:lnTo>
                    <a:pt x="61582" y="78016"/>
                  </a:lnTo>
                  <a:lnTo>
                    <a:pt x="93332" y="42011"/>
                  </a:lnTo>
                  <a:lnTo>
                    <a:pt x="120332" y="42011"/>
                  </a:lnTo>
                  <a:lnTo>
                    <a:pt x="120332" y="41592"/>
                  </a:lnTo>
                  <a:close/>
                </a:path>
                <a:path w="120650" h="102870">
                  <a:moveTo>
                    <a:pt x="120332" y="0"/>
                  </a:moveTo>
                  <a:lnTo>
                    <a:pt x="93332" y="0"/>
                  </a:lnTo>
                  <a:lnTo>
                    <a:pt x="60452" y="39573"/>
                  </a:lnTo>
                  <a:lnTo>
                    <a:pt x="120332" y="39573"/>
                  </a:lnTo>
                  <a:lnTo>
                    <a:pt x="120332" y="0"/>
                  </a:lnTo>
                  <a:close/>
                </a:path>
              </a:pathLst>
            </a:custGeom>
            <a:solidFill>
              <a:srgbClr val="36393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1"/>
            <p:cNvSpPr/>
            <p:nvPr/>
          </p:nvSpPr>
          <p:spPr>
            <a:xfrm>
              <a:off x="698303" y="6468424"/>
              <a:ext cx="101600" cy="203200"/>
            </a:xfrm>
            <a:custGeom>
              <a:avLst/>
              <a:gdLst/>
              <a:ahLst/>
              <a:cxnLst/>
              <a:rect l="l" t="t" r="r" b="b"/>
              <a:pathLst>
                <a:path w="101600" h="203200">
                  <a:moveTo>
                    <a:pt x="25438" y="115938"/>
                  </a:moveTo>
                  <a:lnTo>
                    <a:pt x="0" y="141376"/>
                  </a:lnTo>
                  <a:lnTo>
                    <a:pt x="0" y="203073"/>
                  </a:lnTo>
                  <a:lnTo>
                    <a:pt x="70688" y="132384"/>
                  </a:lnTo>
                  <a:lnTo>
                    <a:pt x="25438" y="115938"/>
                  </a:lnTo>
                  <a:close/>
                </a:path>
                <a:path w="101600" h="203200">
                  <a:moveTo>
                    <a:pt x="0" y="0"/>
                  </a:moveTo>
                  <a:lnTo>
                    <a:pt x="0" y="61696"/>
                  </a:lnTo>
                  <a:lnTo>
                    <a:pt x="70688" y="132384"/>
                  </a:lnTo>
                  <a:lnTo>
                    <a:pt x="101549" y="1015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6393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776754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jpe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tiff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4.jp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4" name="object 1354"/>
          <p:cNvSpPr txBox="1">
            <a:spLocks noGrp="1"/>
          </p:cNvSpPr>
          <p:nvPr>
            <p:ph type="title"/>
          </p:nvPr>
        </p:nvSpPr>
        <p:spPr>
          <a:xfrm>
            <a:off x="495301" y="1173707"/>
            <a:ext cx="8211971" cy="5416868"/>
          </a:xfrm>
          <a:prstGeom prst="rect">
            <a:avLst/>
          </a:prstGeom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9525" marR="3810"/>
            <a:r>
              <a:rPr lang="en-US" sz="4000" dirty="0"/>
              <a:t>Keynote 9: Cyber Security in Emerging C4I Systems: Deployment and Implementation Perspectives</a:t>
            </a:r>
            <a:r>
              <a:rPr lang="en-US" sz="3200" dirty="0"/>
              <a:t/>
            </a:r>
            <a:br>
              <a:rPr lang="en-US" sz="3200" dirty="0"/>
            </a:br>
            <a:r>
              <a:rPr lang="en-US" sz="3200" dirty="0" smtClean="0"/>
              <a:t/>
            </a:r>
            <a:br>
              <a:rPr lang="en-US" sz="3200" dirty="0" smtClean="0"/>
            </a:br>
            <a:r>
              <a:rPr lang="en-US" sz="3200" dirty="0"/>
              <a:t/>
            </a:r>
            <a:br>
              <a:rPr lang="en-US" sz="3200" dirty="0"/>
            </a:br>
            <a:r>
              <a:rPr lang="en-US" sz="3200" dirty="0" smtClean="0"/>
              <a:t>By </a:t>
            </a:r>
            <a:r>
              <a:rPr lang="en-US" sz="3200" dirty="0" smtClean="0"/>
              <a:t>Eric J. Eifert, Sr. VP of </a:t>
            </a:r>
            <a:r>
              <a:rPr lang="en-US" sz="3200" dirty="0" err="1" smtClean="0"/>
              <a:t>DarkMatter’s</a:t>
            </a:r>
            <a:r>
              <a:rPr lang="en-US" sz="3200" dirty="0" smtClean="0"/>
              <a:t> Managed </a:t>
            </a:r>
            <a:r>
              <a:rPr lang="en-US" sz="3200" dirty="0" smtClean="0"/>
              <a:t>Security Service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sz="1600" dirty="0">
              <a:solidFill>
                <a:schemeClr val="tx2"/>
              </a:solidFill>
              <a:latin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224160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521" y="884617"/>
            <a:ext cx="8346285" cy="611001"/>
          </a:xfrm>
        </p:spPr>
        <p:txBody>
          <a:bodyPr>
            <a:noAutofit/>
          </a:bodyPr>
          <a:lstStyle/>
          <a:p>
            <a:pPr algn="ctr"/>
            <a:r>
              <a:rPr lang="en-US" sz="4400" b="0" dirty="0"/>
              <a:t>Assessing the risk</a:t>
            </a:r>
            <a:endParaRPr lang="en-US" sz="4400" b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9654" y="1495618"/>
            <a:ext cx="3923731" cy="4630545"/>
          </a:xfrm>
        </p:spPr>
        <p:txBody>
          <a:bodyPr>
            <a:norm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400" dirty="0"/>
              <a:t>Understand your assets</a:t>
            </a:r>
          </a:p>
          <a:p>
            <a:pPr marL="568254" lvl="1" indent="-171450">
              <a:buFont typeface="Arial" panose="020B0604020202020204" pitchFamily="34" charset="0"/>
              <a:buChar char="•"/>
            </a:pPr>
            <a:r>
              <a:rPr lang="en-US" sz="1800" dirty="0" smtClean="0"/>
              <a:t>Sensors</a:t>
            </a:r>
            <a:endParaRPr lang="en-US" sz="1800" dirty="0"/>
          </a:p>
          <a:p>
            <a:pPr marL="568254" lvl="1" indent="-171450">
              <a:buFont typeface="Arial" panose="020B0604020202020204" pitchFamily="34" charset="0"/>
              <a:buChar char="•"/>
            </a:pPr>
            <a:r>
              <a:rPr lang="en-US" sz="1800" dirty="0" smtClean="0"/>
              <a:t>Communications</a:t>
            </a:r>
            <a:endParaRPr lang="en-US" sz="1800" dirty="0"/>
          </a:p>
          <a:p>
            <a:pPr marL="568254" lvl="1" indent="-171450">
              <a:buFont typeface="Arial" panose="020B0604020202020204" pitchFamily="34" charset="0"/>
              <a:buChar char="•"/>
            </a:pPr>
            <a:r>
              <a:rPr lang="en-US" sz="1800" dirty="0" smtClean="0"/>
              <a:t>Network environment</a:t>
            </a:r>
            <a:endParaRPr lang="en-US" sz="1800" dirty="0"/>
          </a:p>
          <a:p>
            <a:pPr marL="568254" lvl="1" indent="-171450">
              <a:buFont typeface="Arial" panose="020B0604020202020204" pitchFamily="34" charset="0"/>
              <a:buChar char="•"/>
            </a:pPr>
            <a:r>
              <a:rPr lang="en-US" sz="1800" dirty="0" smtClean="0"/>
              <a:t>Data Storage</a:t>
            </a:r>
            <a:endParaRPr lang="en-US" sz="1800" dirty="0"/>
          </a:p>
          <a:p>
            <a:pPr marL="568254" lvl="1" indent="-171450">
              <a:buFont typeface="Arial" panose="020B0604020202020204" pitchFamily="34" charset="0"/>
              <a:buChar char="•"/>
            </a:pPr>
            <a:r>
              <a:rPr lang="en-US" sz="1800" dirty="0" smtClean="0"/>
              <a:t>Analytics</a:t>
            </a:r>
            <a:endParaRPr lang="en-US" sz="1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400" dirty="0"/>
              <a:t>Understand the threats</a:t>
            </a:r>
          </a:p>
          <a:p>
            <a:pPr marL="568254" lvl="1" indent="-171450">
              <a:buFont typeface="Arial" panose="020B0604020202020204" pitchFamily="34" charset="0"/>
              <a:buChar char="•"/>
            </a:pPr>
            <a:r>
              <a:rPr lang="en-US" sz="1800" dirty="0"/>
              <a:t>Which threat actors are targeting you and </a:t>
            </a:r>
            <a:r>
              <a:rPr lang="en-US" sz="1800" dirty="0" smtClean="0"/>
              <a:t>why</a:t>
            </a:r>
          </a:p>
          <a:p>
            <a:pPr marL="568254" lvl="1" indent="-171450">
              <a:buFont typeface="Arial" panose="020B0604020202020204" pitchFamily="34" charset="0"/>
              <a:buChar char="•"/>
            </a:pPr>
            <a:r>
              <a:rPr lang="en-US" sz="1800" dirty="0" smtClean="0"/>
              <a:t>Know their capabilities</a:t>
            </a:r>
            <a:endParaRPr lang="en-US" sz="1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400" dirty="0"/>
              <a:t>Understand your vulnerabilities</a:t>
            </a:r>
          </a:p>
          <a:p>
            <a:pPr marL="568254" lvl="1" indent="-171450">
              <a:buFont typeface="Arial" panose="020B0604020202020204" pitchFamily="34" charset="0"/>
              <a:buChar char="•"/>
            </a:pPr>
            <a:r>
              <a:rPr lang="en-US" sz="1800" dirty="0"/>
              <a:t>People, process, and technology</a:t>
            </a:r>
            <a:endParaRPr lang="en-US" sz="18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64" b="6186"/>
          <a:stretch/>
        </p:blipFill>
        <p:spPr>
          <a:xfrm>
            <a:off x="3957782" y="2213488"/>
            <a:ext cx="5186218" cy="2886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6077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6590" y="1401716"/>
            <a:ext cx="1781175" cy="2571750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555845"/>
            <a:ext cx="3008313" cy="4570318"/>
          </a:xfrm>
        </p:spPr>
        <p:txBody>
          <a:bodyPr>
            <a:norm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Identify standards to measure yourself agains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Leverage guidance from your country and oth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International </a:t>
            </a:r>
            <a:r>
              <a:rPr lang="en-US" sz="2000" dirty="0" err="1"/>
              <a:t>Organisation</a:t>
            </a:r>
            <a:r>
              <a:rPr lang="en-US" sz="2000" dirty="0"/>
              <a:t> </a:t>
            </a:r>
            <a:r>
              <a:rPr lang="en-US" sz="2000" dirty="0"/>
              <a:t>for </a:t>
            </a:r>
            <a:r>
              <a:rPr lang="en-US" sz="2000" dirty="0" err="1"/>
              <a:t>Standardisation</a:t>
            </a:r>
            <a:endParaRPr lang="en-US" sz="2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US National Institute of Standards and Technolog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Industry specific documentation</a:t>
            </a:r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1162" y="2406849"/>
            <a:ext cx="1781175" cy="2571750"/>
          </a:xfr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6599" y="3324085"/>
            <a:ext cx="1948904" cy="2571750"/>
          </a:xfrm>
          <a:prstGeom prst="rect">
            <a:avLst/>
          </a:prstGeom>
        </p:spPr>
      </p:pic>
      <p:sp>
        <p:nvSpPr>
          <p:cNvPr id="11" name="Title 1"/>
          <p:cNvSpPr txBox="1">
            <a:spLocks/>
          </p:cNvSpPr>
          <p:nvPr/>
        </p:nvSpPr>
        <p:spPr>
          <a:xfrm>
            <a:off x="456521" y="884617"/>
            <a:ext cx="8346285" cy="61100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400" b="0" dirty="0" smtClean="0"/>
              <a:t>Assessing the risk</a:t>
            </a:r>
            <a:endParaRPr lang="en-US" sz="4400" b="0" dirty="0"/>
          </a:p>
        </p:txBody>
      </p:sp>
    </p:spTree>
    <p:extLst>
      <p:ext uri="{BB962C8B-B14F-4D97-AF65-F5344CB8AC3E}">
        <p14:creationId xmlns:p14="http://schemas.microsoft.com/office/powerpoint/2010/main" val="1543361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83562" y="1495619"/>
            <a:ext cx="4043762" cy="4700466"/>
          </a:xfrm>
        </p:spPr>
        <p:txBody>
          <a:bodyPr>
            <a:norm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400" dirty="0"/>
              <a:t>What to assess?</a:t>
            </a:r>
          </a:p>
          <a:p>
            <a:pPr marL="568254" lvl="1" indent="-171450">
              <a:buFont typeface="Arial" panose="020B0604020202020204" pitchFamily="34" charset="0"/>
              <a:buChar char="•"/>
            </a:pPr>
            <a:r>
              <a:rPr lang="en-US" sz="1600" dirty="0"/>
              <a:t>Risk Management</a:t>
            </a:r>
          </a:p>
          <a:p>
            <a:pPr marL="568254" lvl="1" indent="-171450">
              <a:buFont typeface="Arial" panose="020B0604020202020204" pitchFamily="34" charset="0"/>
              <a:buChar char="•"/>
            </a:pPr>
            <a:r>
              <a:rPr lang="en-US" sz="1600" dirty="0"/>
              <a:t>Asset, Change, and Configuration Management</a:t>
            </a:r>
          </a:p>
          <a:p>
            <a:pPr marL="568254" lvl="1" indent="-171450">
              <a:buFont typeface="Arial" panose="020B0604020202020204" pitchFamily="34" charset="0"/>
              <a:buChar char="•"/>
            </a:pPr>
            <a:r>
              <a:rPr lang="en-US" sz="1600" dirty="0"/>
              <a:t>Identity and Access Management</a:t>
            </a:r>
          </a:p>
          <a:p>
            <a:pPr marL="568254" lvl="1" indent="-171450">
              <a:buFont typeface="Arial" panose="020B0604020202020204" pitchFamily="34" charset="0"/>
              <a:buChar char="•"/>
            </a:pPr>
            <a:r>
              <a:rPr lang="en-US" sz="1600" dirty="0"/>
              <a:t>Threat and Vulnerability Management</a:t>
            </a:r>
          </a:p>
          <a:p>
            <a:pPr marL="568254" lvl="1" indent="-171450">
              <a:buFont typeface="Arial" panose="020B0604020202020204" pitchFamily="34" charset="0"/>
              <a:buChar char="•"/>
            </a:pPr>
            <a:r>
              <a:rPr lang="en-US" sz="1600" dirty="0"/>
              <a:t>Situational Awareness</a:t>
            </a:r>
          </a:p>
          <a:p>
            <a:pPr marL="568254" lvl="1" indent="-171450">
              <a:buFont typeface="Arial" panose="020B0604020202020204" pitchFamily="34" charset="0"/>
              <a:buChar char="•"/>
            </a:pPr>
            <a:r>
              <a:rPr lang="en-US" sz="1600" dirty="0"/>
              <a:t>Information Sharing and Communication</a:t>
            </a:r>
          </a:p>
          <a:p>
            <a:pPr marL="568254" lvl="1" indent="-171450">
              <a:buFont typeface="Arial" panose="020B0604020202020204" pitchFamily="34" charset="0"/>
              <a:buChar char="•"/>
            </a:pPr>
            <a:r>
              <a:rPr lang="en-US" sz="1600" dirty="0"/>
              <a:t>Event and Incident Response, COOP </a:t>
            </a:r>
          </a:p>
          <a:p>
            <a:pPr marL="568254" lvl="1" indent="-171450">
              <a:buFont typeface="Arial" panose="020B0604020202020204" pitchFamily="34" charset="0"/>
              <a:buChar char="•"/>
            </a:pPr>
            <a:r>
              <a:rPr lang="en-US" sz="1600" dirty="0"/>
              <a:t>Supply Chain and External Dependencies</a:t>
            </a:r>
          </a:p>
          <a:p>
            <a:pPr marL="568254" lvl="1" indent="-171450">
              <a:buFont typeface="Arial" panose="020B0604020202020204" pitchFamily="34" charset="0"/>
              <a:buChar char="•"/>
            </a:pPr>
            <a:r>
              <a:rPr lang="en-US" sz="1600" dirty="0"/>
              <a:t>Workforce Management</a:t>
            </a:r>
          </a:p>
          <a:p>
            <a:pPr marL="568254" lvl="1" indent="-171450">
              <a:buFont typeface="Arial" panose="020B0604020202020204" pitchFamily="34" charset="0"/>
              <a:buChar char="•"/>
            </a:pPr>
            <a:r>
              <a:rPr lang="en-US" sz="1600" dirty="0"/>
              <a:t>Cybersecurity Program Management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400"/>
          <a:stretch/>
        </p:blipFill>
        <p:spPr>
          <a:xfrm>
            <a:off x="4191000" y="2226602"/>
            <a:ext cx="4953000" cy="3096025"/>
          </a:xfrm>
          <a:prstGeom prst="rect">
            <a:avLst/>
          </a:prstGeom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456521" y="884617"/>
            <a:ext cx="8346285" cy="61100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4400" b="0" dirty="0" smtClean="0"/>
              <a:t>Assessing the risk</a:t>
            </a:r>
            <a:endParaRPr lang="en-US" sz="4400" b="0" dirty="0"/>
          </a:p>
        </p:txBody>
      </p:sp>
      <p:sp>
        <p:nvSpPr>
          <p:cNvPr id="9" name="Rectangle 8"/>
          <p:cNvSpPr/>
          <p:nvPr/>
        </p:nvSpPr>
        <p:spPr>
          <a:xfrm>
            <a:off x="1248092" y="6053610"/>
            <a:ext cx="679044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rgbClr val="333333"/>
                </a:solidFill>
                <a:latin typeface="Arial" panose="020B0604020202020204" pitchFamily="34" charset="0"/>
              </a:rPr>
              <a:t>NIST’s model of security information and decision flows within an organization (Source: NIST Preliminary-Cybersecurity Framework, Page 9)</a:t>
            </a:r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527909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85883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85883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Mitigating the risk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1668256" y="4573488"/>
            <a:ext cx="7124868" cy="556012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buClr>
                <a:srgbClr val="1B7D7E"/>
              </a:buClr>
              <a:buSzPct val="70000"/>
              <a:buFont typeface="Wingdings" charset="2"/>
              <a:buChar char="u"/>
              <a:defRPr sz="2100" b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662940" indent="-342900" algn="l" defTabSz="4572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B7D7E"/>
              </a:buClr>
              <a:buSzPct val="70000"/>
              <a:buFont typeface="Wingdings" charset="2"/>
              <a:buChar char="u"/>
              <a:defRPr sz="1900" kern="1200">
                <a:solidFill>
                  <a:schemeClr val="tx1"/>
                </a:solidFill>
                <a:latin typeface="Arial"/>
                <a:ea typeface="+mn-ea"/>
                <a:cs typeface="Myriad Pro"/>
              </a:defRPr>
            </a:lvl2pPr>
            <a:lvl3pPr marL="898398" indent="-285750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rgbClr val="1B7D7E"/>
              </a:buClr>
              <a:buSzPct val="70000"/>
              <a:buFont typeface="Wingdings" charset="2"/>
              <a:buChar char="u"/>
              <a:defRPr sz="180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3pPr>
            <a:lvl4pPr marL="1154430" indent="-285750" algn="l" defTabSz="4572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400"/>
              </a:spcAft>
              <a:buClr>
                <a:srgbClr val="1B7D7E"/>
              </a:buClr>
              <a:buSzPct val="70000"/>
              <a:buFont typeface="Wingdings" charset="2"/>
              <a:buChar char="u"/>
              <a:defRPr sz="170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4pPr>
            <a:lvl5pPr marL="1383030" indent="-285750" algn="l" defTabSz="457200" rtl="0" eaLnBrk="1" latinLnBrk="0" hangingPunct="1">
              <a:spcBef>
                <a:spcPts val="100"/>
              </a:spcBef>
              <a:spcAft>
                <a:spcPts val="400"/>
              </a:spcAft>
              <a:buClr>
                <a:srgbClr val="1B7D7E"/>
              </a:buClr>
              <a:buSzPct val="70000"/>
              <a:buFont typeface="Wingdings" charset="2"/>
              <a:buChar char="u"/>
              <a:defRPr sz="160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/>
              <a:t>At an advanced level it is the integration of all this information to allow continuous monitoring and rapid decision making</a:t>
            </a:r>
            <a:endParaRPr lang="en-US" sz="1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68256" y="1975093"/>
            <a:ext cx="7124868" cy="1314990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600" dirty="0"/>
              <a:t>At the most basic level it is having true visibility across your own environment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600" dirty="0"/>
              <a:t>Knowing what is on your network…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600" dirty="0"/>
              <a:t>Knowing how your network is configured…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1600" dirty="0"/>
              <a:t>Knowing who is on your network…</a:t>
            </a: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1668256" y="3644852"/>
            <a:ext cx="7124868" cy="628651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lnSpc>
                <a:spcPct val="100000"/>
              </a:lnSpc>
              <a:spcBef>
                <a:spcPts val="800"/>
              </a:spcBef>
              <a:spcAft>
                <a:spcPts val="300"/>
              </a:spcAft>
              <a:buClr>
                <a:srgbClr val="1B7D7E"/>
              </a:buClr>
              <a:buSzPct val="70000"/>
              <a:buFont typeface="Wingdings" charset="2"/>
              <a:buChar char="u"/>
              <a:defRPr sz="2100" b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662940" indent="-342900" algn="l" defTabSz="4572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400"/>
              </a:spcAft>
              <a:buClr>
                <a:srgbClr val="1B7D7E"/>
              </a:buClr>
              <a:buSzPct val="70000"/>
              <a:buFont typeface="Wingdings" charset="2"/>
              <a:buChar char="u"/>
              <a:defRPr sz="1900" kern="1200">
                <a:solidFill>
                  <a:schemeClr val="tx1"/>
                </a:solidFill>
                <a:latin typeface="Arial"/>
                <a:ea typeface="+mn-ea"/>
                <a:cs typeface="Myriad Pro"/>
              </a:defRPr>
            </a:lvl2pPr>
            <a:lvl3pPr marL="898398" indent="-285750" algn="l" defTabSz="4572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rgbClr val="1B7D7E"/>
              </a:buClr>
              <a:buSzPct val="70000"/>
              <a:buFont typeface="Wingdings" charset="2"/>
              <a:buChar char="u"/>
              <a:defRPr sz="180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3pPr>
            <a:lvl4pPr marL="1154430" indent="-285750" algn="l" defTabSz="4572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400"/>
              </a:spcAft>
              <a:buClr>
                <a:srgbClr val="1B7D7E"/>
              </a:buClr>
              <a:buSzPct val="70000"/>
              <a:buFont typeface="Wingdings" charset="2"/>
              <a:buChar char="u"/>
              <a:defRPr sz="170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4pPr>
            <a:lvl5pPr marL="1383030" indent="-285750" algn="l" defTabSz="457200" rtl="0" eaLnBrk="1" latinLnBrk="0" hangingPunct="1">
              <a:spcBef>
                <a:spcPts val="100"/>
              </a:spcBef>
              <a:spcAft>
                <a:spcPts val="400"/>
              </a:spcAft>
              <a:buClr>
                <a:srgbClr val="1B7D7E"/>
              </a:buClr>
              <a:buSzPct val="70000"/>
              <a:buFont typeface="Wingdings" charset="2"/>
              <a:buChar char="u"/>
              <a:defRPr sz="1600" kern="1200">
                <a:solidFill>
                  <a:srgbClr val="000000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/>
              <a:t>At an intermediate level it is understanding external influences and their relevance to your environment</a:t>
            </a:r>
          </a:p>
        </p:txBody>
      </p:sp>
      <p:sp>
        <p:nvSpPr>
          <p:cNvPr id="8" name="Rectangle 7"/>
          <p:cNvSpPr/>
          <p:nvPr/>
        </p:nvSpPr>
        <p:spPr>
          <a:xfrm>
            <a:off x="367554" y="1981056"/>
            <a:ext cx="1237881" cy="136811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Visibility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67554" y="3540696"/>
            <a:ext cx="1237881" cy="7294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Intelligence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67554" y="4486782"/>
            <a:ext cx="1237881" cy="7294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Integration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6029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	</a:t>
            </a:r>
            <a:r>
              <a:rPr lang="en-US" dirty="0"/>
              <a:t>Why Visibility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8220699"/>
              </p:ext>
            </p:extLst>
          </p:nvPr>
        </p:nvGraphicFramePr>
        <p:xfrm>
          <a:off x="488032" y="1933754"/>
          <a:ext cx="8234524" cy="4114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6597"/>
                <a:gridCol w="6707927"/>
              </a:tblGrid>
              <a:tr h="334242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Visibility Type</a:t>
                      </a:r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Rationale</a:t>
                      </a:r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668484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Hardware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Knowing</a:t>
                      </a:r>
                      <a:r>
                        <a:rPr lang="en-US" sz="18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what hardware is in the environment as well as when new hardware is introduced to the environment allows you to ensure they conform with your secure baseline and are </a:t>
                      </a:r>
                      <a:r>
                        <a:rPr lang="en-US" sz="1800" dirty="0" err="1" smtClean="0">
                          <a:solidFill>
                            <a:schemeClr val="tx1"/>
                          </a:solidFill>
                        </a:rPr>
                        <a:t>authorised</a:t>
                      </a:r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 devices</a:t>
                      </a:r>
                      <a:endParaRPr lang="en-US" sz="18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47351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Software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Software vulnerabilities, bugs and security updates are common</a:t>
                      </a:r>
                      <a:r>
                        <a:rPr lang="en-US" sz="1800" baseline="0" dirty="0" smtClean="0">
                          <a:solidFill>
                            <a:schemeClr val="tx1"/>
                          </a:solidFill>
                        </a:rPr>
                        <a:t>, knowing if you are vulnerable and rapidly resolving your vulnerable state is critical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47351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Configuration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Maintaining</a:t>
                      </a:r>
                      <a:r>
                        <a:rPr lang="en-US" sz="1800" baseline="0" dirty="0" smtClean="0">
                          <a:solidFill>
                            <a:schemeClr val="tx1"/>
                          </a:solidFill>
                        </a:rPr>
                        <a:t> a secure configuration baseline is important to prevent </a:t>
                      </a:r>
                      <a:r>
                        <a:rPr lang="en-US" sz="1800" baseline="0" dirty="0" err="1" smtClean="0">
                          <a:solidFill>
                            <a:schemeClr val="tx1"/>
                          </a:solidFill>
                        </a:rPr>
                        <a:t>unauthorised</a:t>
                      </a:r>
                      <a:r>
                        <a:rPr lang="en-US" sz="1800" baseline="0" dirty="0" smtClean="0">
                          <a:solidFill>
                            <a:schemeClr val="tx1"/>
                          </a:solidFill>
                        </a:rPr>
                        <a:t> access and subversion of </a:t>
                      </a:r>
                      <a:r>
                        <a:rPr lang="en-US" sz="1800" baseline="0" dirty="0" err="1" smtClean="0">
                          <a:solidFill>
                            <a:schemeClr val="tx1"/>
                          </a:solidFill>
                        </a:rPr>
                        <a:t>defences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47351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Identity and Access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Confirming the identity of </a:t>
                      </a:r>
                      <a:r>
                        <a:rPr lang="en-US" sz="1800" dirty="0" err="1" smtClean="0">
                          <a:solidFill>
                            <a:schemeClr val="tx1"/>
                          </a:solidFill>
                        </a:rPr>
                        <a:t>authorised</a:t>
                      </a:r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 users as well as ensuring they have access to the appropriate resources and data sources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47351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Data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Knowing what data within your </a:t>
                      </a:r>
                      <a:r>
                        <a:rPr lang="en-US" sz="1800" dirty="0" err="1" smtClean="0">
                          <a:solidFill>
                            <a:schemeClr val="tx1"/>
                          </a:solidFill>
                        </a:rPr>
                        <a:t>organisation</a:t>
                      </a:r>
                      <a:r>
                        <a:rPr lang="en-US" sz="1800" baseline="0" dirty="0" smtClean="0">
                          <a:solidFill>
                            <a:schemeClr val="tx1"/>
                          </a:solidFill>
                        </a:rPr>
                        <a:t> is sensitive allows you to focus your resources on what is most important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3" name="Group 2"/>
          <p:cNvGrpSpPr/>
          <p:nvPr/>
        </p:nvGrpSpPr>
        <p:grpSpPr>
          <a:xfrm>
            <a:off x="122151" y="983625"/>
            <a:ext cx="801214" cy="697856"/>
            <a:chOff x="122151" y="75027"/>
            <a:chExt cx="677076" cy="895055"/>
          </a:xfrm>
        </p:grpSpPr>
        <p:sp>
          <p:nvSpPr>
            <p:cNvPr id="8" name="Rectangle 7"/>
            <p:cNvSpPr/>
            <p:nvPr/>
          </p:nvSpPr>
          <p:spPr>
            <a:xfrm>
              <a:off x="122151" y="75027"/>
              <a:ext cx="677076" cy="275206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</a:rPr>
                <a:t>Visibility</a:t>
              </a:r>
              <a:endParaRPr lang="en-US" sz="800" dirty="0">
                <a:solidFill>
                  <a:schemeClr val="bg1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122151" y="382382"/>
              <a:ext cx="677076" cy="274549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</a:rPr>
                <a:t>Intelligence</a:t>
              </a:r>
              <a:endParaRPr lang="en-US" sz="800" dirty="0">
                <a:solidFill>
                  <a:schemeClr val="bg1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122151" y="695533"/>
              <a:ext cx="677076" cy="274549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800" dirty="0">
                  <a:solidFill>
                    <a:schemeClr val="bg1"/>
                  </a:solidFill>
                </a:rPr>
                <a:t>Integration</a:t>
              </a:r>
              <a:endParaRPr lang="en-US" sz="8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65410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	</a:t>
            </a:r>
            <a:r>
              <a:rPr lang="en-US" dirty="0"/>
              <a:t>Why Intelligence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1356355"/>
              </p:ext>
            </p:extLst>
          </p:nvPr>
        </p:nvGraphicFramePr>
        <p:xfrm>
          <a:off x="457200" y="1817978"/>
          <a:ext cx="8467858" cy="439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35624"/>
                <a:gridCol w="6632234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Intelligence Type</a:t>
                      </a:r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Rationale</a:t>
                      </a:r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Vulnerabilities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Understanding what vulnerabilities exist within your environments as well as when new vulnerabilities are discovered allows for rapid remediation</a:t>
                      </a:r>
                      <a:endParaRPr lang="en-US" sz="18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Threat Actors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Understanding the types of adversaries targeting you and their motivation helps to focus resources and security investments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Adversarial Capabilities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Up to date knowledge of the specific tactics,</a:t>
                      </a:r>
                      <a:r>
                        <a:rPr lang="en-US" sz="1800" baseline="0" dirty="0" smtClean="0">
                          <a:solidFill>
                            <a:schemeClr val="tx1"/>
                          </a:solidFill>
                        </a:rPr>
                        <a:t> techniques, procedures, and technologies being used by an adversary allows for better detection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Government 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Government agencies have access to rich threat intelligence that can be leveraged to gain</a:t>
                      </a:r>
                      <a:r>
                        <a:rPr lang="en-US" sz="1800" baseline="0" dirty="0" smtClean="0">
                          <a:solidFill>
                            <a:schemeClr val="tx1"/>
                          </a:solidFill>
                        </a:rPr>
                        <a:t> better insight into the threat landscape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Industry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Industry peer groups can provide insight</a:t>
                      </a:r>
                      <a:r>
                        <a:rPr lang="en-US" sz="1800" baseline="0" dirty="0" smtClean="0">
                          <a:solidFill>
                            <a:schemeClr val="tx1"/>
                          </a:solidFill>
                        </a:rPr>
                        <a:t> into sector specific cyber threats as well as share lessons learned to increase your security posture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1" name="Rectangle 10"/>
          <p:cNvSpPr/>
          <p:nvPr/>
        </p:nvSpPr>
        <p:spPr>
          <a:xfrm>
            <a:off x="122151" y="986701"/>
            <a:ext cx="801214" cy="21457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Visibility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22151" y="1226339"/>
            <a:ext cx="801214" cy="2140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Intelligence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22151" y="1470497"/>
            <a:ext cx="801214" cy="21406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Integration</a:t>
            </a:r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72639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	</a:t>
            </a:r>
            <a:r>
              <a:rPr lang="en-US" dirty="0"/>
              <a:t>Why Integration</a:t>
            </a:r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8507104"/>
              </p:ext>
            </p:extLst>
          </p:nvPr>
        </p:nvGraphicFramePr>
        <p:xfrm>
          <a:off x="464024" y="1897573"/>
          <a:ext cx="8461034" cy="4119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0162"/>
                <a:gridCol w="6020872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Integration Type</a:t>
                      </a:r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bg1"/>
                          </a:solidFill>
                        </a:rPr>
                        <a:t>Rationale</a:t>
                      </a:r>
                      <a:endParaRPr lang="en-US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Diverse Technology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Proper integration of diverse technologies</a:t>
                      </a:r>
                      <a:r>
                        <a:rPr lang="en-US" sz="1800" baseline="0" dirty="0" smtClean="0">
                          <a:solidFill>
                            <a:schemeClr val="tx1"/>
                          </a:solidFill>
                        </a:rPr>
                        <a:t> reduces the potential for the introduction of security weaknesses</a:t>
                      </a: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Legacy Technology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Legacy applications running on insecure hardware and software need to be known and mitigated through</a:t>
                      </a:r>
                      <a:r>
                        <a:rPr lang="en-US" sz="1800" baseline="0" dirty="0" smtClean="0">
                          <a:solidFill>
                            <a:schemeClr val="tx1"/>
                          </a:solidFill>
                        </a:rPr>
                        <a:t> other means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Logs and</a:t>
                      </a:r>
                      <a:r>
                        <a:rPr lang="en-US" sz="1800" baseline="0" dirty="0" smtClean="0">
                          <a:solidFill>
                            <a:schemeClr val="tx1"/>
                          </a:solidFill>
                        </a:rPr>
                        <a:t> Diagnostics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Diverse log and diagnostic formats can</a:t>
                      </a:r>
                      <a:r>
                        <a:rPr lang="en-US" sz="1800" baseline="0" dirty="0" smtClean="0">
                          <a:solidFill>
                            <a:schemeClr val="tx1"/>
                          </a:solidFill>
                        </a:rPr>
                        <a:t> make it difficult to leverage the content for decision making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Visualization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Aggregation of information into a dashboard</a:t>
                      </a:r>
                      <a:r>
                        <a:rPr lang="en-US" sz="1800" baseline="0" dirty="0" smtClean="0">
                          <a:solidFill>
                            <a:schemeClr val="tx1"/>
                          </a:solidFill>
                        </a:rPr>
                        <a:t> for decision makers </a:t>
                      </a:r>
                      <a:r>
                        <a:rPr lang="en-US" sz="1800" baseline="0" smtClean="0">
                          <a:solidFill>
                            <a:schemeClr val="tx1"/>
                          </a:solidFill>
                        </a:rPr>
                        <a:t>helps </a:t>
                      </a:r>
                      <a:r>
                        <a:rPr lang="en-US" sz="1800" baseline="0" smtClean="0">
                          <a:solidFill>
                            <a:schemeClr val="tx1"/>
                          </a:solidFill>
                        </a:rPr>
                        <a:t>prioritise </a:t>
                      </a:r>
                      <a:r>
                        <a:rPr lang="en-US" sz="1800" baseline="0" dirty="0" smtClean="0">
                          <a:solidFill>
                            <a:schemeClr val="tx1"/>
                          </a:solidFill>
                        </a:rPr>
                        <a:t>and speed up the decision making process 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Automation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Acting at the speed of cyber</a:t>
                      </a:r>
                      <a:r>
                        <a:rPr lang="en-US" sz="1800" baseline="0" dirty="0" smtClean="0">
                          <a:solidFill>
                            <a:schemeClr val="tx1"/>
                          </a:solidFill>
                        </a:rPr>
                        <a:t> to mitigate issues reduces the potential of cyber events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9" name="Rectangle 8"/>
          <p:cNvSpPr/>
          <p:nvPr/>
        </p:nvSpPr>
        <p:spPr>
          <a:xfrm>
            <a:off x="122151" y="986701"/>
            <a:ext cx="801214" cy="21457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Visibility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22151" y="1226339"/>
            <a:ext cx="801214" cy="2140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Intelligence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22151" y="1470497"/>
            <a:ext cx="801214" cy="2140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Integration</a:t>
            </a:r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6664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521" y="1062038"/>
            <a:ext cx="3938058" cy="611001"/>
          </a:xfrm>
        </p:spPr>
        <p:txBody>
          <a:bodyPr>
            <a:normAutofit fontScale="90000"/>
          </a:bodyPr>
          <a:lstStyle/>
          <a:p>
            <a:r>
              <a:rPr lang="en-US" sz="3100" dirty="0"/>
              <a:t>Mitigating the risk</a:t>
            </a:r>
            <a:r>
              <a:rPr lang="en-US" sz="1800" dirty="0"/>
              <a:t/>
            </a:r>
            <a:br>
              <a:rPr lang="en-US" sz="1800" dirty="0"/>
            </a:br>
            <a:r>
              <a:rPr lang="en-US" sz="1800" dirty="0"/>
              <a:t>- Increase your visibility</a:t>
            </a:r>
            <a:endParaRPr lang="en-US" sz="18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6521" y="1933576"/>
            <a:ext cx="4043761" cy="4344394"/>
          </a:xfrm>
        </p:spPr>
        <p:txBody>
          <a:bodyPr>
            <a:norm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Deploy technology to provide visibility across all assets</a:t>
            </a:r>
          </a:p>
          <a:p>
            <a:pPr marL="568254" lvl="1" indent="-171450">
              <a:buFont typeface="Arial" panose="020B0604020202020204" pitchFamily="34" charset="0"/>
              <a:buChar char="•"/>
            </a:pPr>
            <a:r>
              <a:rPr lang="en-US" sz="1600" dirty="0"/>
              <a:t>Remote locations</a:t>
            </a:r>
          </a:p>
          <a:p>
            <a:pPr marL="568254" lvl="1" indent="-171450">
              <a:buFont typeface="Arial" panose="020B0604020202020204" pitchFamily="34" charset="0"/>
              <a:buChar char="•"/>
            </a:pPr>
            <a:r>
              <a:rPr lang="en-US" sz="1600" dirty="0"/>
              <a:t>Non-IP based systems</a:t>
            </a:r>
          </a:p>
          <a:p>
            <a:pPr marL="568254" lvl="1" indent="-171450">
              <a:buFont typeface="Arial" panose="020B0604020202020204" pitchFamily="34" charset="0"/>
              <a:buChar char="•"/>
            </a:pPr>
            <a:r>
              <a:rPr lang="en-US" sz="1600" dirty="0"/>
              <a:t>Mobile and wireles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Understand your critical assets, technology, and dat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Correlate and </a:t>
            </a:r>
            <a:r>
              <a:rPr lang="en-US" sz="2000" dirty="0" err="1"/>
              <a:t>analyse</a:t>
            </a:r>
            <a:r>
              <a:rPr lang="en-US" sz="2000" dirty="0"/>
              <a:t> data to detect anomalous and suspicious eve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Conduct continuous monitoring and rapid remediation/mitigation activities </a:t>
            </a:r>
          </a:p>
        </p:txBody>
      </p:sp>
      <p:pic>
        <p:nvPicPr>
          <p:cNvPr id="6" name="Picture 5" descr="tier_analysis.JPG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500282" y="1493744"/>
            <a:ext cx="4428566" cy="4061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696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521" y="1062038"/>
            <a:ext cx="3637807" cy="611001"/>
          </a:xfrm>
        </p:spPr>
        <p:txBody>
          <a:bodyPr>
            <a:normAutofit fontScale="90000"/>
          </a:bodyPr>
          <a:lstStyle/>
          <a:p>
            <a:r>
              <a:rPr lang="en-US" sz="3100" dirty="0"/>
              <a:t>Mitigating the risk</a:t>
            </a:r>
            <a:r>
              <a:rPr lang="en-US" sz="1800" dirty="0"/>
              <a:t/>
            </a:r>
            <a:br>
              <a:rPr lang="en-US" sz="1800" dirty="0"/>
            </a:br>
            <a:r>
              <a:rPr lang="en-US" sz="1800" dirty="0"/>
              <a:t>- Increase your intelligence</a:t>
            </a:r>
            <a:endParaRPr lang="en-US" sz="18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6521" y="1933577"/>
            <a:ext cx="3819645" cy="4262507"/>
          </a:xfrm>
        </p:spPr>
        <p:txBody>
          <a:bodyPr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Develop a threat intelligence </a:t>
            </a:r>
            <a:r>
              <a:rPr lang="en-US" sz="2000" dirty="0" err="1"/>
              <a:t>programme</a:t>
            </a:r>
            <a:endParaRPr lang="en-US" sz="2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Obtain threat intelligence feed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Develop partnerships with government information sharing </a:t>
            </a:r>
            <a:r>
              <a:rPr lang="en-US" sz="2000" dirty="0" err="1"/>
              <a:t>programmes</a:t>
            </a:r>
            <a:endParaRPr lang="en-US" sz="2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Develop partnerships with industry peers to share threat intellige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Interface with all stakeholders to understand critical components</a:t>
            </a:r>
          </a:p>
        </p:txBody>
      </p:sp>
      <p:pic>
        <p:nvPicPr>
          <p:cNvPr id="6" name="Picture 5" descr="threat.jpg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356847" y="1673039"/>
            <a:ext cx="4482562" cy="3801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635358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521" y="1062038"/>
            <a:ext cx="4279252" cy="611001"/>
          </a:xfrm>
        </p:spPr>
        <p:txBody>
          <a:bodyPr>
            <a:normAutofit fontScale="90000"/>
          </a:bodyPr>
          <a:lstStyle/>
          <a:p>
            <a:r>
              <a:rPr lang="en-US" sz="3100" dirty="0"/>
              <a:t>Mitigating the risk</a:t>
            </a:r>
            <a:br>
              <a:rPr lang="en-US" sz="3100" dirty="0"/>
            </a:br>
            <a:r>
              <a:rPr lang="en-US" sz="1800" dirty="0"/>
              <a:t>- Facilitate better integration</a:t>
            </a:r>
            <a:endParaRPr lang="en-US" sz="18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6521" y="1933577"/>
            <a:ext cx="7531033" cy="3518297"/>
          </a:xfrm>
        </p:spPr>
        <p:txBody>
          <a:bodyPr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Understand the technical landscape within the </a:t>
            </a:r>
            <a:r>
              <a:rPr lang="en-US" sz="2000" dirty="0" err="1"/>
              <a:t>organisation</a:t>
            </a:r>
            <a:r>
              <a:rPr lang="en-US" sz="2000" dirty="0"/>
              <a:t> and influence the roadmap with a focus on better integration and secur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Attend user conferences to learn about best practices from other </a:t>
            </a:r>
            <a:r>
              <a:rPr lang="en-US" sz="2000" dirty="0" err="1"/>
              <a:t>organisations</a:t>
            </a:r>
            <a:r>
              <a:rPr lang="en-US" sz="2000" dirty="0"/>
              <a:t> with similar environme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Develop a secure reference architecture that is flexible and adaptab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Understand the Application Program </a:t>
            </a:r>
            <a:r>
              <a:rPr lang="en-US" sz="2000" dirty="0"/>
              <a:t>Interfaces (APIs) of the technologies in use and how to leverage </a:t>
            </a:r>
            <a:r>
              <a:rPr lang="en-US" sz="2000" dirty="0"/>
              <a:t>them for </a:t>
            </a:r>
            <a:r>
              <a:rPr lang="en-US" sz="2000" dirty="0">
                <a:solidFill>
                  <a:srgbClr val="FF0000"/>
                </a:solidFill>
              </a:rPr>
              <a:t>security orchestration and automated remedi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Develop an integration lab to test secure configurations and integrations prior to deployment</a:t>
            </a:r>
          </a:p>
        </p:txBody>
      </p:sp>
    </p:spTree>
    <p:extLst>
      <p:ext uri="{BB962C8B-B14F-4D97-AF65-F5344CB8AC3E}">
        <p14:creationId xmlns:p14="http://schemas.microsoft.com/office/powerpoint/2010/main" val="28529903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3846" y="1815152"/>
            <a:ext cx="8271775" cy="4067033"/>
          </a:xfrm>
        </p:spPr>
        <p:txBody>
          <a:bodyPr>
            <a:normAutofit/>
          </a:bodyPr>
          <a:lstStyle/>
          <a:p>
            <a:r>
              <a:rPr lang="en-US" sz="3600" dirty="0"/>
              <a:t>Background</a:t>
            </a:r>
          </a:p>
          <a:p>
            <a:r>
              <a:rPr lang="en-US" sz="3600" dirty="0"/>
              <a:t>Threat Actors and Risks</a:t>
            </a:r>
          </a:p>
          <a:p>
            <a:r>
              <a:rPr lang="en-US" sz="3600" dirty="0"/>
              <a:t>Case </a:t>
            </a:r>
            <a:r>
              <a:rPr lang="en-US" sz="3600" dirty="0" smtClean="0"/>
              <a:t>Study</a:t>
            </a:r>
            <a:endParaRPr lang="en-US" sz="3600" dirty="0"/>
          </a:p>
          <a:p>
            <a:r>
              <a:rPr lang="en-US" sz="3600" dirty="0"/>
              <a:t>Assessing </a:t>
            </a:r>
            <a:r>
              <a:rPr lang="en-US" sz="3600" dirty="0" smtClean="0"/>
              <a:t>Cyber </a:t>
            </a:r>
            <a:r>
              <a:rPr lang="en-US" sz="3600" dirty="0"/>
              <a:t>Risk</a:t>
            </a:r>
          </a:p>
          <a:p>
            <a:r>
              <a:rPr lang="en-US" sz="3600" dirty="0"/>
              <a:t>Mitigating </a:t>
            </a:r>
            <a:r>
              <a:rPr lang="en-US" sz="3600" dirty="0" smtClean="0"/>
              <a:t>Cyber </a:t>
            </a:r>
            <a:r>
              <a:rPr lang="en-US" sz="3600" dirty="0"/>
              <a:t>Risk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279491581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521" y="1062038"/>
            <a:ext cx="3009705" cy="611001"/>
          </a:xfrm>
        </p:spPr>
        <p:txBody>
          <a:bodyPr>
            <a:noAutofit/>
          </a:bodyPr>
          <a:lstStyle/>
          <a:p>
            <a:r>
              <a:rPr lang="en-US" sz="3600" dirty="0"/>
              <a:t>Summary</a:t>
            </a:r>
            <a:endParaRPr lang="en-US" sz="36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6521" y="1933577"/>
            <a:ext cx="7531033" cy="3518297"/>
          </a:xfrm>
        </p:spPr>
        <p:txBody>
          <a:bodyPr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 smtClean="0"/>
              <a:t>C4I systems complex </a:t>
            </a:r>
            <a:r>
              <a:rPr lang="en-US" sz="2000" dirty="0"/>
              <a:t>and a target for cyber attackers and insid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In order to assess your cyber risk you need to understand your assets, the threats to those assets, and the vulnerabilit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Leverage National and International standards, guidelines, and framework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Evaluate your </a:t>
            </a:r>
            <a:r>
              <a:rPr lang="en-US" sz="2000" dirty="0" err="1"/>
              <a:t>organisation’s</a:t>
            </a:r>
            <a:r>
              <a:rPr lang="en-US" sz="2000" dirty="0"/>
              <a:t> cyber maturity across visibility, intelligence, and integr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/>
              <a:t>Develop a plan to mitigate the highest risk areas and build towards a continuous monitoring and mitigation capability supported by intelligence and securely integrated technology</a:t>
            </a:r>
          </a:p>
        </p:txBody>
      </p:sp>
      <p:sp>
        <p:nvSpPr>
          <p:cNvPr id="5" name="Rectangle 4"/>
          <p:cNvSpPr/>
          <p:nvPr/>
        </p:nvSpPr>
        <p:spPr>
          <a:xfrm>
            <a:off x="3763620" y="4384552"/>
            <a:ext cx="1274544" cy="2658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Intelligence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001376" y="4384552"/>
            <a:ext cx="1274544" cy="26429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Visibility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757958" y="4384552"/>
            <a:ext cx="1274544" cy="2658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Integration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987706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PPP_CGEN1_CLP_Questionmark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52092" y="1504950"/>
            <a:ext cx="1963737" cy="449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269482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 descr="C4I Presentation Temp 1-02 copy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69773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My Backgroun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9741" y="1923509"/>
            <a:ext cx="4703269" cy="3822197"/>
          </a:xfrm>
        </p:spPr>
        <p:txBody>
          <a:bodyPr>
            <a:normAutofit fontScale="70000" lnSpcReduction="20000"/>
          </a:bodyPr>
          <a:lstStyle/>
          <a:p>
            <a:r>
              <a:rPr lang="en-US" sz="4000" dirty="0" smtClean="0"/>
              <a:t>Over </a:t>
            </a:r>
            <a:r>
              <a:rPr lang="en-US" sz="4000" dirty="0" smtClean="0"/>
              <a:t>20+ </a:t>
            </a:r>
            <a:r>
              <a:rPr lang="en-US" sz="4000" dirty="0" smtClean="0"/>
              <a:t>years experience in Cyber Security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2900" dirty="0" smtClean="0"/>
              <a:t>Special Agent investigating cyber crime and computer intrusion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2900" dirty="0" err="1" smtClean="0"/>
              <a:t>Programme</a:t>
            </a:r>
            <a:r>
              <a:rPr lang="en-US" sz="2900" dirty="0" smtClean="0"/>
              <a:t> Manager for large U.S. Cyber Security Operations </a:t>
            </a:r>
            <a:r>
              <a:rPr lang="en-US" sz="2900" dirty="0" err="1" smtClean="0"/>
              <a:t>Centres</a:t>
            </a:r>
            <a:endParaRPr lang="en-US" sz="2900" dirty="0" smtClean="0"/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2900" dirty="0" smtClean="0"/>
              <a:t>Executive running cyber security line of business (US$125+M)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2900" dirty="0" smtClean="0"/>
              <a:t>Adjunct professor teaching graduate cyber investigations</a:t>
            </a:r>
            <a:endParaRPr lang="en-US" sz="2900" dirty="0"/>
          </a:p>
          <a:p>
            <a:pPr lvl="1">
              <a:buFont typeface="Wingdings" panose="05000000000000000000" pitchFamily="2" charset="2"/>
              <a:buChar char="Ø"/>
            </a:pPr>
            <a:r>
              <a:rPr lang="en-US" sz="2900" dirty="0" smtClean="0"/>
              <a:t>Relocated to UAE for </a:t>
            </a:r>
            <a:r>
              <a:rPr lang="en-US" sz="2900" dirty="0" err="1" smtClean="0"/>
              <a:t>DarkMatter</a:t>
            </a:r>
            <a:endParaRPr lang="en-US" sz="2900" dirty="0" smtClean="0"/>
          </a:p>
          <a:p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8772" y="2248273"/>
            <a:ext cx="1008186" cy="100818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17" t="9120" r="6549" b="3724"/>
          <a:stretch/>
        </p:blipFill>
        <p:spPr>
          <a:xfrm>
            <a:off x="5527842" y="2287988"/>
            <a:ext cx="1184727" cy="993642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9615" y="4559028"/>
            <a:ext cx="1097352" cy="724424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3" t="22705" r="3943" b="21787"/>
          <a:stretch/>
        </p:blipFill>
        <p:spPr>
          <a:xfrm>
            <a:off x="6540893" y="4806788"/>
            <a:ext cx="2528047" cy="435721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9004" y="2238819"/>
            <a:ext cx="1020703" cy="1017641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9003" y="3424980"/>
            <a:ext cx="1022628" cy="1022628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9927" y="3424980"/>
            <a:ext cx="992843" cy="102262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1551" y="3424980"/>
            <a:ext cx="1022628" cy="10226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002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 descr="C:\Users\Random\Downloads\iStock_000000763402Medium.jpg"/>
          <p:cNvPicPr>
            <a:picLocks noGrp="1" noChangeAspect="1" noChangeArrowheads="1"/>
          </p:cNvPicPr>
          <p:nvPr>
            <p:ph idx="4294967295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54" r="21652"/>
          <a:stretch/>
        </p:blipFill>
        <p:spPr bwMode="auto">
          <a:xfrm>
            <a:off x="3039036" y="2009236"/>
            <a:ext cx="2832847" cy="339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Who are the Threat Actors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698503" y="1911351"/>
            <a:ext cx="3149599" cy="3479800"/>
          </a:xfrm>
          <a:prstGeom prst="rect">
            <a:avLst/>
          </a:prstGeom>
        </p:spPr>
        <p:txBody>
          <a:bodyPr vert="horz" wrap="square" lIns="91440" tIns="0" rIns="91440" bIns="45720" rtlCol="0" anchor="t" anchorCtr="0">
            <a:normAutofit/>
          </a:bodyPr>
          <a:lstStyle/>
          <a:p>
            <a:pPr>
              <a:lnSpc>
                <a:spcPct val="100000"/>
              </a:lnSpc>
            </a:pPr>
            <a:endParaRPr lang="en-US" sz="1900" dirty="0">
              <a:latin typeface="Calibri"/>
            </a:endParaRPr>
          </a:p>
        </p:txBody>
      </p:sp>
      <p:sp>
        <p:nvSpPr>
          <p:cNvPr id="9" name="Content Placeholder 3"/>
          <p:cNvSpPr txBox="1">
            <a:spLocks/>
          </p:cNvSpPr>
          <p:nvPr/>
        </p:nvSpPr>
        <p:spPr>
          <a:xfrm>
            <a:off x="698503" y="2119455"/>
            <a:ext cx="2362199" cy="3394472"/>
          </a:xfrm>
          <a:prstGeom prst="rect">
            <a:avLst/>
          </a:prstGeom>
        </p:spPr>
        <p:txBody>
          <a:bodyPr vert="horz" lIns="91440" tIns="45720" rIns="91440" bIns="45720" rtlCol="0">
            <a:normAutofit fontScale="70000" lnSpcReduction="20000"/>
          </a:bodyPr>
          <a:lstStyle>
            <a:lvl1pPr marL="274320" indent="-274320" algn="l" defTabSz="457200" rtl="0" eaLnBrk="1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>
                <a:srgbClr val="1B7D7E"/>
              </a:buClr>
              <a:buSzPct val="85000"/>
              <a:buFontTx/>
              <a:buBlip>
                <a:blip r:embed="rId3"/>
              </a:buBlip>
              <a:defRPr sz="23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576072" indent="-274320" algn="l" defTabSz="457200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1B7D7E"/>
              </a:buClr>
              <a:buSzPct val="88000"/>
              <a:buFontTx/>
              <a:buBlip>
                <a:blip r:embed="rId3"/>
              </a:buBlip>
              <a:defRPr sz="210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2pPr>
            <a:lvl3pPr marL="841248" indent="-265176" algn="l" defTabSz="4572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B7D7E"/>
              </a:buClr>
              <a:buSzPct val="87000"/>
              <a:buFontTx/>
              <a:buBlip>
                <a:blip r:embed="rId3"/>
              </a:buBlip>
              <a:defRPr sz="2000" kern="1200" baseline="0">
                <a:solidFill>
                  <a:srgbClr val="000000"/>
                </a:solidFill>
                <a:latin typeface="Calibri"/>
                <a:ea typeface="+mn-ea"/>
                <a:cs typeface="Calibri"/>
              </a:defRPr>
            </a:lvl3pPr>
            <a:lvl4pPr marL="1088136" indent="-237744" algn="l" defTabSz="4572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Pct val="86000"/>
              <a:buFontTx/>
              <a:buBlip>
                <a:blip r:embed="rId3"/>
              </a:buBlip>
              <a:defRPr sz="1800" kern="1200">
                <a:solidFill>
                  <a:srgbClr val="000000"/>
                </a:solidFill>
                <a:latin typeface="Calibri"/>
                <a:ea typeface="+mn-ea"/>
                <a:cs typeface="Calibri"/>
              </a:defRPr>
            </a:lvl4pPr>
            <a:lvl5pPr marL="1335024" indent="-246888" algn="l" defTabSz="457200" rtl="0" eaLnBrk="1" latinLnBrk="0" hangingPunct="1">
              <a:spcBef>
                <a:spcPts val="400"/>
              </a:spcBef>
              <a:spcAft>
                <a:spcPts val="0"/>
              </a:spcAft>
              <a:buClrTx/>
              <a:buSzPct val="85000"/>
              <a:buFontTx/>
              <a:buBlip>
                <a:blip r:embed="rId3"/>
              </a:buBlip>
              <a:defRPr sz="1700" kern="1200">
                <a:solidFill>
                  <a:srgbClr val="000000"/>
                </a:solidFill>
                <a:latin typeface="Calibri"/>
                <a:ea typeface="+mn-ea"/>
                <a:cs typeface="Calibri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Ø"/>
            </a:pPr>
            <a:r>
              <a:rPr lang="en-AU" dirty="0"/>
              <a:t>World Trade / Globalisation Activist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AU" dirty="0"/>
              <a:t>Environmental Group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AU" dirty="0"/>
              <a:t>Regional Political Activism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AU" dirty="0"/>
              <a:t>Non-State Sponsored Terrorism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AU" dirty="0"/>
              <a:t>Organised </a:t>
            </a:r>
            <a:r>
              <a:rPr lang="en-AU" dirty="0"/>
              <a:t>Crime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AU" dirty="0"/>
              <a:t>Nation States / Government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AU" dirty="0"/>
              <a:t>Insider Threats</a:t>
            </a:r>
          </a:p>
        </p:txBody>
      </p:sp>
      <p:sp>
        <p:nvSpPr>
          <p:cNvPr id="10" name="Content Placeholder 3"/>
          <p:cNvSpPr txBox="1">
            <a:spLocks/>
          </p:cNvSpPr>
          <p:nvPr/>
        </p:nvSpPr>
        <p:spPr>
          <a:xfrm>
            <a:off x="6286501" y="2097499"/>
            <a:ext cx="2645160" cy="3394472"/>
          </a:xfrm>
          <a:prstGeom prst="rect">
            <a:avLst/>
          </a:prstGeom>
        </p:spPr>
        <p:txBody>
          <a:bodyPr vert="horz" lIns="91440" tIns="45720" rIns="91440" bIns="45720" rtlCol="0">
            <a:normAutofit fontScale="70000" lnSpcReduction="20000"/>
          </a:bodyPr>
          <a:lstStyle>
            <a:lvl1pPr marL="274320" indent="-274320" algn="l" defTabSz="457200" rtl="0" eaLnBrk="1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>
                <a:srgbClr val="1B7D7E"/>
              </a:buClr>
              <a:buSzPct val="85000"/>
              <a:buFontTx/>
              <a:buBlip>
                <a:blip r:embed="rId3"/>
              </a:buBlip>
              <a:defRPr sz="2300" b="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1pPr>
            <a:lvl2pPr marL="576072" indent="-274320" algn="l" defTabSz="457200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1B7D7E"/>
              </a:buClr>
              <a:buSzPct val="88000"/>
              <a:buFontTx/>
              <a:buBlip>
                <a:blip r:embed="rId3"/>
              </a:buBlip>
              <a:defRPr sz="2100" kern="1200">
                <a:solidFill>
                  <a:schemeClr val="tx1"/>
                </a:solidFill>
                <a:latin typeface="Calibri"/>
                <a:ea typeface="+mn-ea"/>
                <a:cs typeface="Calibri"/>
              </a:defRPr>
            </a:lvl2pPr>
            <a:lvl3pPr marL="841248" indent="-265176" algn="l" defTabSz="4572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B7D7E"/>
              </a:buClr>
              <a:buSzPct val="87000"/>
              <a:buFontTx/>
              <a:buBlip>
                <a:blip r:embed="rId3"/>
              </a:buBlip>
              <a:defRPr sz="2000" kern="1200" baseline="0">
                <a:solidFill>
                  <a:srgbClr val="000000"/>
                </a:solidFill>
                <a:latin typeface="Calibri"/>
                <a:ea typeface="+mn-ea"/>
                <a:cs typeface="Calibri"/>
              </a:defRPr>
            </a:lvl3pPr>
            <a:lvl4pPr marL="1088136" indent="-237744" algn="l" defTabSz="4572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Pct val="86000"/>
              <a:buFontTx/>
              <a:buBlip>
                <a:blip r:embed="rId3"/>
              </a:buBlip>
              <a:defRPr sz="1800" kern="1200">
                <a:solidFill>
                  <a:srgbClr val="000000"/>
                </a:solidFill>
                <a:latin typeface="Calibri"/>
                <a:ea typeface="+mn-ea"/>
                <a:cs typeface="Calibri"/>
              </a:defRPr>
            </a:lvl4pPr>
            <a:lvl5pPr marL="1335024" indent="-246888" algn="l" defTabSz="457200" rtl="0" eaLnBrk="1" latinLnBrk="0" hangingPunct="1">
              <a:spcBef>
                <a:spcPts val="400"/>
              </a:spcBef>
              <a:spcAft>
                <a:spcPts val="0"/>
              </a:spcAft>
              <a:buClrTx/>
              <a:buSzPct val="85000"/>
              <a:buFontTx/>
              <a:buBlip>
                <a:blip r:embed="rId3"/>
              </a:buBlip>
              <a:defRPr sz="1700" kern="1200">
                <a:solidFill>
                  <a:srgbClr val="000000"/>
                </a:solidFill>
                <a:latin typeface="Calibri"/>
                <a:ea typeface="+mn-ea"/>
                <a:cs typeface="Calibri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Ø"/>
            </a:pPr>
            <a:r>
              <a:rPr lang="en-AU" dirty="0"/>
              <a:t>Information </a:t>
            </a:r>
            <a:r>
              <a:rPr lang="en-AU" dirty="0" err="1"/>
              <a:t>Hacktivisists</a:t>
            </a:r>
            <a:endParaRPr lang="en-AU" dirty="0"/>
          </a:p>
          <a:p>
            <a:pPr>
              <a:buFont typeface="Wingdings" panose="05000000000000000000" pitchFamily="2" charset="2"/>
              <a:buChar char="Ø"/>
            </a:pPr>
            <a:r>
              <a:rPr lang="en-AU" dirty="0"/>
              <a:t>General Attacker Threat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AU" dirty="0"/>
              <a:t>Illegal Information Brokers and Freelance Agent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AU" dirty="0"/>
              <a:t>Trusted 3rd </a:t>
            </a:r>
            <a:r>
              <a:rPr lang="en-AU" dirty="0"/>
              <a:t>Parties</a:t>
            </a:r>
            <a:endParaRPr lang="en-AU" dirty="0"/>
          </a:p>
          <a:p>
            <a:pPr>
              <a:buFont typeface="Wingdings" panose="05000000000000000000" pitchFamily="2" charset="2"/>
              <a:buChar char="Ø"/>
            </a:pPr>
            <a:r>
              <a:rPr lang="en-AU" dirty="0"/>
              <a:t>Corporate Intelligence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AU" dirty="0"/>
              <a:t>Investigation Companie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AU" dirty="0"/>
              <a:t>Competitors, Contractors, Corporation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AU" dirty="0"/>
              <a:t>Untrained Personnel</a:t>
            </a:r>
          </a:p>
        </p:txBody>
      </p:sp>
    </p:spTree>
    <p:extLst>
      <p:ext uri="{BB962C8B-B14F-4D97-AF65-F5344CB8AC3E}">
        <p14:creationId xmlns:p14="http://schemas.microsoft.com/office/powerpoint/2010/main" val="30261297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What are the </a:t>
            </a:r>
            <a:r>
              <a:rPr lang="en-US" dirty="0" smtClean="0"/>
              <a:t>cyber risks</a:t>
            </a:r>
            <a:endParaRPr lang="en-US" dirty="0"/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4060" y="2220317"/>
            <a:ext cx="2642356" cy="1632598"/>
          </a:xfrm>
        </p:spPr>
      </p:pic>
      <p:sp>
        <p:nvSpPr>
          <p:cNvPr id="11" name="Content Placeholder 2"/>
          <p:cNvSpPr txBox="1">
            <a:spLocks/>
          </p:cNvSpPr>
          <p:nvPr/>
        </p:nvSpPr>
        <p:spPr>
          <a:xfrm>
            <a:off x="193000" y="1691374"/>
            <a:ext cx="4612822" cy="4245402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700" dirty="0"/>
              <a:t>Theft of </a:t>
            </a:r>
            <a:r>
              <a:rPr lang="en-US" sz="2700" dirty="0" smtClean="0"/>
              <a:t>sensitive and valuable information</a:t>
            </a:r>
            <a:endParaRPr lang="en-US" sz="2700" dirty="0"/>
          </a:p>
          <a:p>
            <a:r>
              <a:rPr lang="en-US" sz="2700" dirty="0" smtClean="0"/>
              <a:t>Manipulation of mission critical data</a:t>
            </a:r>
            <a:endParaRPr lang="en-US" sz="2700" dirty="0"/>
          </a:p>
          <a:p>
            <a:r>
              <a:rPr lang="en-US" sz="2700" dirty="0" smtClean="0"/>
              <a:t>Disruption to operations</a:t>
            </a:r>
          </a:p>
          <a:p>
            <a:r>
              <a:rPr lang="en-US" sz="2700" dirty="0" smtClean="0"/>
              <a:t>Impact to successful execution of mission priorities</a:t>
            </a:r>
          </a:p>
          <a:p>
            <a:r>
              <a:rPr lang="en-US" sz="2700" dirty="0" smtClean="0"/>
              <a:t>Destruction of C4I systems via non-kinetic attacks</a:t>
            </a:r>
            <a:endParaRPr lang="en-US" sz="2700" dirty="0"/>
          </a:p>
          <a:p>
            <a:endParaRPr lang="en-US" sz="27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7520" y="1691374"/>
            <a:ext cx="2316480" cy="220675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0496" y="4090412"/>
            <a:ext cx="3214048" cy="2136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96675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Knowledge is pow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815705"/>
            <a:ext cx="4038600" cy="4310458"/>
          </a:xfrm>
        </p:spPr>
        <p:txBody>
          <a:bodyPr>
            <a:normAutofit fontScale="92500" lnSpcReduction="20000"/>
          </a:bodyPr>
          <a:lstStyle/>
          <a:p>
            <a:r>
              <a:rPr lang="en-US" dirty="0" smtClean="0"/>
              <a:t>C4I System are </a:t>
            </a:r>
            <a:r>
              <a:rPr lang="en-US" dirty="0" smtClean="0"/>
              <a:t>complex and targets of sophisticated cyber attacks</a:t>
            </a:r>
          </a:p>
          <a:p>
            <a:r>
              <a:rPr lang="en-US" dirty="0" smtClean="0"/>
              <a:t>What type of information are </a:t>
            </a:r>
            <a:r>
              <a:rPr lang="en-US" dirty="0" smtClean="0"/>
              <a:t>adversaries </a:t>
            </a:r>
            <a:r>
              <a:rPr lang="en-US" dirty="0" smtClean="0"/>
              <a:t>looking for?</a:t>
            </a:r>
          </a:p>
          <a:p>
            <a:pPr lvl="1"/>
            <a:r>
              <a:rPr lang="en-US" dirty="0" smtClean="0"/>
              <a:t>C4I capabilities </a:t>
            </a:r>
            <a:endParaRPr lang="en-US" dirty="0"/>
          </a:p>
          <a:p>
            <a:pPr lvl="1"/>
            <a:r>
              <a:rPr lang="en-US" dirty="0" smtClean="0"/>
              <a:t>Operational information</a:t>
            </a:r>
            <a:endParaRPr lang="en-US" dirty="0" smtClean="0"/>
          </a:p>
          <a:p>
            <a:pPr lvl="1"/>
            <a:r>
              <a:rPr lang="en-US" dirty="0" smtClean="0"/>
              <a:t>Vulnerabilities</a:t>
            </a:r>
            <a:endParaRPr lang="en-US" dirty="0" smtClean="0"/>
          </a:p>
          <a:p>
            <a:pPr lvl="1"/>
            <a:r>
              <a:rPr lang="en-US" dirty="0" smtClean="0"/>
              <a:t>Plans </a:t>
            </a:r>
            <a:r>
              <a:rPr lang="en-US" dirty="0" smtClean="0"/>
              <a:t>and strategy</a:t>
            </a:r>
          </a:p>
          <a:p>
            <a:pPr lvl="1"/>
            <a:r>
              <a:rPr lang="en-US" dirty="0" smtClean="0"/>
              <a:t>Research and </a:t>
            </a:r>
            <a:r>
              <a:rPr lang="en-US" dirty="0" smtClean="0"/>
              <a:t>development</a:t>
            </a:r>
            <a:endParaRPr lang="en-US" dirty="0" smtClean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88"/>
          <a:stretch/>
        </p:blipFill>
        <p:spPr>
          <a:xfrm>
            <a:off x="4359897" y="2370287"/>
            <a:ext cx="4722688" cy="3201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39583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969093"/>
            <a:ext cx="3008313" cy="1162050"/>
          </a:xfrm>
        </p:spPr>
        <p:txBody>
          <a:bodyPr>
            <a:noAutofit/>
          </a:bodyPr>
          <a:lstStyle/>
          <a:p>
            <a:r>
              <a:rPr lang="en-US" sz="2400" b="0" dirty="0"/>
              <a:t>Well orchestrated cyber attack against Ukrainian power grid</a:t>
            </a:r>
            <a:endParaRPr lang="en-US" sz="2400" b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half" idx="2"/>
          </p:nvPr>
        </p:nvSpPr>
        <p:spPr>
          <a:xfrm>
            <a:off x="456521" y="2237815"/>
            <a:ext cx="3009705" cy="3214058"/>
          </a:xfrm>
        </p:spPr>
        <p:txBody>
          <a:bodyPr>
            <a:no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800" dirty="0"/>
              <a:t>23 Dec 2015  </a:t>
            </a:r>
            <a:r>
              <a:rPr lang="en-US" sz="1800" dirty="0"/>
              <a:t>“</a:t>
            </a:r>
            <a:r>
              <a:rPr lang="en-US" sz="1800" dirty="0" err="1"/>
              <a:t>Prykarpattyaoblenergo</a:t>
            </a:r>
            <a:r>
              <a:rPr lang="en-US" sz="1800" dirty="0"/>
              <a:t>” reported disruption of power supply because of an “accident”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800" dirty="0"/>
              <a:t>Ukrainian CERT reported 8 different power companies across 8 different regions were affected by cyber attacks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800" dirty="0"/>
              <a:t>One company affected linked attack to subnetwork belonging to ISP operated in Russia</a:t>
            </a:r>
            <a:endParaRPr lang="en-US" sz="180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/>
          <a:srcRect l="31332" t="10803" r="16587" b="10991"/>
          <a:stretch/>
        </p:blipFill>
        <p:spPr>
          <a:xfrm>
            <a:off x="3764489" y="1395857"/>
            <a:ext cx="5074920" cy="4056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87974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6520" y="1215838"/>
            <a:ext cx="3009705" cy="556372"/>
          </a:xfrm>
        </p:spPr>
        <p:txBody>
          <a:bodyPr>
            <a:noAutofit/>
          </a:bodyPr>
          <a:lstStyle/>
          <a:p>
            <a:r>
              <a:rPr lang="en-US" sz="2800" b="0" dirty="0"/>
              <a:t>Multi-Pronged Attack</a:t>
            </a:r>
            <a:endParaRPr lang="en-US" sz="2800" b="0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half" idx="2"/>
          </p:nvPr>
        </p:nvSpPr>
        <p:spPr>
          <a:xfrm>
            <a:off x="456521" y="1992573"/>
            <a:ext cx="3009705" cy="3459301"/>
          </a:xfrm>
        </p:spPr>
        <p:txBody>
          <a:bodyPr>
            <a:no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2400" dirty="0"/>
              <a:t>Disconnected breakers to substations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2400" dirty="0"/>
              <a:t>Telephone Denial of Service Attack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2400" dirty="0"/>
              <a:t>Manipulated monitoring capabilities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2400" dirty="0"/>
              <a:t>Destroyed corporate systems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/>
          <a:srcRect l="28316" t="24781" r="32974" b="2693"/>
          <a:stretch/>
        </p:blipFill>
        <p:spPr>
          <a:xfrm>
            <a:off x="4056017" y="1043396"/>
            <a:ext cx="4768896" cy="4755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92873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b="0" dirty="0" smtClean="0"/>
              <a:t>C4I Systems</a:t>
            </a:r>
            <a:endParaRPr lang="en-US" sz="2800" b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054028"/>
            <a:ext cx="3008313" cy="4072135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/>
              <a:t>Deployable C4I capabiliti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/>
              <a:t>Mission </a:t>
            </a:r>
            <a:r>
              <a:rPr lang="en-US" sz="2400" dirty="0"/>
              <a:t>critical system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/>
              <a:t>Long Haul Communica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/>
              <a:t>Mission impac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/>
              <a:t>Lessons learne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3342" y="2054028"/>
            <a:ext cx="3106137" cy="306490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9352" y="727274"/>
            <a:ext cx="2648519" cy="2653507"/>
          </a:xfrm>
          <a:prstGeom prst="rect">
            <a:avLst/>
          </a:prstGeom>
        </p:spPr>
      </p:pic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3880" y="4343891"/>
            <a:ext cx="2382774" cy="2382774"/>
          </a:xfrm>
        </p:spPr>
      </p:pic>
    </p:spTree>
    <p:extLst>
      <p:ext uri="{BB962C8B-B14F-4D97-AF65-F5344CB8AC3E}">
        <p14:creationId xmlns:p14="http://schemas.microsoft.com/office/powerpoint/2010/main" val="26815132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6</TotalTime>
  <Words>1084</Words>
  <Application>Microsoft Office PowerPoint</Application>
  <PresentationFormat>On-screen Show (4:3)</PresentationFormat>
  <Paragraphs>180</Paragraphs>
  <Slides>2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8" baseType="lpstr">
      <vt:lpstr>Arial</vt:lpstr>
      <vt:lpstr>Calibri</vt:lpstr>
      <vt:lpstr>Verdana</vt:lpstr>
      <vt:lpstr>Wingdings</vt:lpstr>
      <vt:lpstr>Office Theme</vt:lpstr>
      <vt:lpstr>think-cell Slide</vt:lpstr>
      <vt:lpstr>Keynote 9: Cyber Security in Emerging C4I Systems: Deployment and Implementation Perspectives   By Eric J. Eifert, Sr. VP of DarkMatter’s Managed Security Services   </vt:lpstr>
      <vt:lpstr>Agenda</vt:lpstr>
      <vt:lpstr>My Background</vt:lpstr>
      <vt:lpstr>Who are the Threat Actors</vt:lpstr>
      <vt:lpstr>What are the cyber risks</vt:lpstr>
      <vt:lpstr>Knowledge is power</vt:lpstr>
      <vt:lpstr>Well orchestrated cyber attack against Ukrainian power grid</vt:lpstr>
      <vt:lpstr>Multi-Pronged Attack</vt:lpstr>
      <vt:lpstr>C4I Systems</vt:lpstr>
      <vt:lpstr>Assessing the risk</vt:lpstr>
      <vt:lpstr>PowerPoint Presentation</vt:lpstr>
      <vt:lpstr>PowerPoint Presentation</vt:lpstr>
      <vt:lpstr>Mitigating the risk</vt:lpstr>
      <vt:lpstr> Why Visibility</vt:lpstr>
      <vt:lpstr> Why Intelligence</vt:lpstr>
      <vt:lpstr> Why Integration</vt:lpstr>
      <vt:lpstr>Mitigating the risk - Increase your visibility</vt:lpstr>
      <vt:lpstr>Mitigating the risk - Increase your intelligence</vt:lpstr>
      <vt:lpstr>Mitigating the risk - Facilitate better integration</vt:lpstr>
      <vt:lpstr>Summary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raphic Department</dc:creator>
  <cp:lastModifiedBy>Eric Eifert</cp:lastModifiedBy>
  <cp:revision>16</cp:revision>
  <dcterms:created xsi:type="dcterms:W3CDTF">2016-03-08T08:45:51Z</dcterms:created>
  <dcterms:modified xsi:type="dcterms:W3CDTF">2016-04-16T19:26:01Z</dcterms:modified>
</cp:coreProperties>
</file>